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7.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1.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5.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6.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2.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157.xml" ContentType="application/vnd.openxmlformats-officedocument.presentationml.tags+xml"/>
  <Override PartName="/ppt/tags/tag158.xml" ContentType="application/vnd.openxmlformats-officedocument.presentationml.tags+xml"/>
  <Override PartName="/ppt/notesSlides/notesSlide3.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6" r:id="rId1"/>
    <p:sldMasterId id="2147483723" r:id="rId2"/>
    <p:sldMasterId id="2147483745" r:id="rId3"/>
    <p:sldMasterId id="2147483753" r:id="rId4"/>
    <p:sldMasterId id="2147483760" r:id="rId5"/>
    <p:sldMasterId id="2147483788" r:id="rId6"/>
    <p:sldMasterId id="2147483802" r:id="rId7"/>
    <p:sldMasterId id="2147483808" r:id="rId8"/>
    <p:sldMasterId id="2147483820" r:id="rId9"/>
    <p:sldMasterId id="2147483834" r:id="rId10"/>
    <p:sldMasterId id="2147483841" r:id="rId11"/>
    <p:sldMasterId id="2147483848" r:id="rId12"/>
    <p:sldMasterId id="2147483856" r:id="rId13"/>
    <p:sldMasterId id="2147483886" r:id="rId14"/>
    <p:sldMasterId id="2147483872" r:id="rId15"/>
    <p:sldMasterId id="2147483879" r:id="rId16"/>
    <p:sldMasterId id="2147483898" r:id="rId17"/>
  </p:sldMasterIdLst>
  <p:notesMasterIdLst>
    <p:notesMasterId r:id="rId34"/>
  </p:notesMasterIdLst>
  <p:handoutMasterIdLst>
    <p:handoutMasterId r:id="rId35"/>
  </p:handoutMasterIdLst>
  <p:sldIdLst>
    <p:sldId id="259" r:id="rId18"/>
    <p:sldId id="338" r:id="rId19"/>
    <p:sldId id="272" r:id="rId20"/>
    <p:sldId id="359" r:id="rId21"/>
    <p:sldId id="339" r:id="rId22"/>
    <p:sldId id="352" r:id="rId23"/>
    <p:sldId id="334" r:id="rId24"/>
    <p:sldId id="358" r:id="rId25"/>
    <p:sldId id="351" r:id="rId26"/>
    <p:sldId id="328" r:id="rId27"/>
    <p:sldId id="337" r:id="rId28"/>
    <p:sldId id="354" r:id="rId29"/>
    <p:sldId id="362" r:id="rId30"/>
    <p:sldId id="363" r:id="rId31"/>
    <p:sldId id="364" r:id="rId32"/>
    <p:sldId id="269" r:id="rId33"/>
  </p:sldIdLst>
  <p:sldSz cx="9144000" cy="5143500" type="screen16x9"/>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15"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ka Naghavi" initials="NN" lastIdx="31" clrIdx="0">
    <p:extLst>
      <p:ext uri="{19B8F6BF-5375-455C-9EA6-DF929625EA0E}">
        <p15:presenceInfo xmlns:p15="http://schemas.microsoft.com/office/powerpoint/2012/main" userId="Nika Naghavi" providerId="None"/>
      </p:ext>
    </p:extLst>
  </p:cmAuthor>
  <p:cmAuthor id="2" name="Tapiwa Jakachira" initials="TJ" lastIdx="14" clrIdx="1">
    <p:extLst>
      <p:ext uri="{19B8F6BF-5375-455C-9EA6-DF929625EA0E}">
        <p15:presenceInfo xmlns:p15="http://schemas.microsoft.com/office/powerpoint/2012/main" userId="S-1-5-21-3346166985-1548841365-2365452741-411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ACD4"/>
    <a:srgbClr val="193C6C"/>
    <a:srgbClr val="476285"/>
    <a:srgbClr val="193C6D"/>
    <a:srgbClr val="5AACD4"/>
    <a:srgbClr val="FFF2CE"/>
    <a:srgbClr val="00568F"/>
    <a:srgbClr val="009DCC"/>
    <a:srgbClr val="FBBB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671" autoAdjust="0"/>
    <p:restoredTop sz="94833"/>
  </p:normalViewPr>
  <p:slideViewPr>
    <p:cSldViewPr snapToGrid="0" snapToObjects="1">
      <p:cViewPr varScale="1">
        <p:scale>
          <a:sx n="104" d="100"/>
          <a:sy n="104" d="100"/>
        </p:scale>
        <p:origin x="67" y="101"/>
      </p:cViewPr>
      <p:guideLst>
        <p:guide orient="horz" pos="1215"/>
        <p:guide pos="288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7" d="100"/>
          <a:sy n="87" d="100"/>
        </p:scale>
        <p:origin x="3840"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viewProps" Target="viewProps.xml"/><Relationship Id="rId21" Type="http://schemas.openxmlformats.org/officeDocument/2006/relationships/slide" Target="slides/slide4.xml"/><Relationship Id="rId34" Type="http://schemas.openxmlformats.org/officeDocument/2006/relationships/notesMaster" Target="notesMasters/notes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tags" Target="tags/tag1.xml"/><Relationship Id="rId10" Type="http://schemas.openxmlformats.org/officeDocument/2006/relationships/slideMaster" Target="slideMasters/slideMaster10.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handoutMaster" Target="handoutMasters/handoutMaster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589497891912612"/>
          <c:y val="2.9850746268656716E-2"/>
          <c:w val="0.62782675354541972"/>
          <c:h val="0.94029850746268662"/>
        </c:manualLayout>
      </c:layout>
      <c:doughnutChart>
        <c:varyColors val="0"/>
        <c:ser>
          <c:idx val="0"/>
          <c:order val="0"/>
          <c:dPt>
            <c:idx val="0"/>
            <c:bubble3D val="0"/>
            <c:spPr>
              <a:solidFill>
                <a:srgbClr val="FFCC66"/>
              </a:solidFill>
              <a:ln>
                <a:noFill/>
              </a:ln>
            </c:spPr>
            <c:extLst>
              <c:ext xmlns:c16="http://schemas.microsoft.com/office/drawing/2014/chart" uri="{C3380CC4-5D6E-409C-BE32-E72D297353CC}">
                <c16:uniqueId val="{00000001-AEF3-4221-85C2-34E952E93860}"/>
              </c:ext>
            </c:extLst>
          </c:dPt>
          <c:dPt>
            <c:idx val="1"/>
            <c:bubble3D val="0"/>
            <c:spPr>
              <a:solidFill>
                <a:srgbClr val="85CFE9"/>
              </a:solidFill>
              <a:ln>
                <a:noFill/>
              </a:ln>
            </c:spPr>
            <c:extLst>
              <c:ext xmlns:c16="http://schemas.microsoft.com/office/drawing/2014/chart" uri="{C3380CC4-5D6E-409C-BE32-E72D297353CC}">
                <c16:uniqueId val="{00000003-AEF3-4221-85C2-34E952E93860}"/>
              </c:ext>
            </c:extLst>
          </c:dPt>
          <c:dPt>
            <c:idx val="2"/>
            <c:bubble3D val="0"/>
            <c:spPr>
              <a:solidFill>
                <a:srgbClr val="00568F"/>
              </a:solidFill>
              <a:ln>
                <a:noFill/>
              </a:ln>
            </c:spPr>
            <c:extLst>
              <c:ext xmlns:c16="http://schemas.microsoft.com/office/drawing/2014/chart" uri="{C3380CC4-5D6E-409C-BE32-E72D297353CC}">
                <c16:uniqueId val="{00000005-AEF3-4221-85C2-34E952E93860}"/>
              </c:ext>
            </c:extLst>
          </c:dPt>
          <c:dPt>
            <c:idx val="3"/>
            <c:bubble3D val="0"/>
            <c:spPr>
              <a:solidFill>
                <a:srgbClr val="FF6600"/>
              </a:solidFill>
              <a:ln>
                <a:noFill/>
              </a:ln>
            </c:spPr>
            <c:extLst>
              <c:ext xmlns:c16="http://schemas.microsoft.com/office/drawing/2014/chart" uri="{C3380CC4-5D6E-409C-BE32-E72D297353CC}">
                <c16:uniqueId val="{00000007-AEF3-4221-85C2-34E952E93860}"/>
              </c:ext>
            </c:extLst>
          </c:dPt>
          <c:dPt>
            <c:idx val="4"/>
            <c:bubble3D val="0"/>
            <c:spPr>
              <a:solidFill>
                <a:srgbClr val="A9D18E"/>
              </a:solidFill>
              <a:ln>
                <a:noFill/>
              </a:ln>
            </c:spPr>
            <c:extLst>
              <c:ext xmlns:c16="http://schemas.microsoft.com/office/drawing/2014/chart" uri="{C3380CC4-5D6E-409C-BE32-E72D297353CC}">
                <c16:uniqueId val="{00000009-AEF3-4221-85C2-34E952E93860}"/>
              </c:ext>
            </c:extLst>
          </c:dPt>
          <c:dPt>
            <c:idx val="5"/>
            <c:bubble3D val="0"/>
            <c:spPr>
              <a:solidFill>
                <a:srgbClr val="193C6C"/>
              </a:solidFill>
              <a:ln>
                <a:noFill/>
              </a:ln>
            </c:spPr>
            <c:extLst>
              <c:ext xmlns:c16="http://schemas.microsoft.com/office/drawing/2014/chart" uri="{C3380CC4-5D6E-409C-BE32-E72D297353CC}">
                <c16:uniqueId val="{0000000B-AEF3-4221-85C2-34E952E93860}"/>
              </c:ext>
            </c:extLst>
          </c:dPt>
          <c:val>
            <c:numRef>
              <c:f>Sheet1!$A$1:$A$6</c:f>
              <c:numCache>
                <c:formatCode>General</c:formatCode>
                <c:ptCount val="6"/>
                <c:pt idx="0">
                  <c:v>2.2000000000000002</c:v>
                </c:pt>
                <c:pt idx="1">
                  <c:v>2.5</c:v>
                </c:pt>
                <c:pt idx="2">
                  <c:v>8.9</c:v>
                </c:pt>
                <c:pt idx="3">
                  <c:v>0.1</c:v>
                </c:pt>
                <c:pt idx="4">
                  <c:v>3.9</c:v>
                </c:pt>
                <c:pt idx="5">
                  <c:v>82.5</c:v>
                </c:pt>
              </c:numCache>
            </c:numRef>
          </c:val>
          <c:extLst>
            <c:ext xmlns:c16="http://schemas.microsoft.com/office/drawing/2014/chart" uri="{C3380CC4-5D6E-409C-BE32-E72D297353CC}">
              <c16:uniqueId val="{0000000C-AEF3-4221-85C2-34E952E93860}"/>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206209275584515"/>
          <c:y val="2.9495178672716959E-2"/>
          <c:w val="0.63587581448830965"/>
          <c:h val="0.9410096426545661"/>
        </c:manualLayout>
      </c:layout>
      <c:doughnutChart>
        <c:varyColors val="0"/>
        <c:ser>
          <c:idx val="0"/>
          <c:order val="0"/>
          <c:dPt>
            <c:idx val="0"/>
            <c:bubble3D val="0"/>
            <c:spPr>
              <a:solidFill>
                <a:srgbClr val="FFCC66"/>
              </a:solidFill>
              <a:ln>
                <a:noFill/>
              </a:ln>
            </c:spPr>
            <c:extLst>
              <c:ext xmlns:c16="http://schemas.microsoft.com/office/drawing/2014/chart" uri="{C3380CC4-5D6E-409C-BE32-E72D297353CC}">
                <c16:uniqueId val="{00000001-E089-498C-A789-F350D8679EB5}"/>
              </c:ext>
            </c:extLst>
          </c:dPt>
          <c:dPt>
            <c:idx val="1"/>
            <c:bubble3D val="0"/>
            <c:spPr>
              <a:solidFill>
                <a:srgbClr val="85CFE9"/>
              </a:solidFill>
              <a:ln>
                <a:noFill/>
              </a:ln>
            </c:spPr>
            <c:extLst>
              <c:ext xmlns:c16="http://schemas.microsoft.com/office/drawing/2014/chart" uri="{C3380CC4-5D6E-409C-BE32-E72D297353CC}">
                <c16:uniqueId val="{00000003-E089-498C-A789-F350D8679EB5}"/>
              </c:ext>
            </c:extLst>
          </c:dPt>
          <c:dPt>
            <c:idx val="2"/>
            <c:bubble3D val="0"/>
            <c:spPr>
              <a:solidFill>
                <a:srgbClr val="00568F"/>
              </a:solidFill>
              <a:ln>
                <a:noFill/>
              </a:ln>
            </c:spPr>
            <c:extLst>
              <c:ext xmlns:c16="http://schemas.microsoft.com/office/drawing/2014/chart" uri="{C3380CC4-5D6E-409C-BE32-E72D297353CC}">
                <c16:uniqueId val="{00000005-E089-498C-A789-F350D8679EB5}"/>
              </c:ext>
            </c:extLst>
          </c:dPt>
          <c:dPt>
            <c:idx val="3"/>
            <c:bubble3D val="0"/>
            <c:spPr>
              <a:solidFill>
                <a:srgbClr val="FF6600"/>
              </a:solidFill>
              <a:ln>
                <a:noFill/>
              </a:ln>
            </c:spPr>
            <c:extLst>
              <c:ext xmlns:c16="http://schemas.microsoft.com/office/drawing/2014/chart" uri="{C3380CC4-5D6E-409C-BE32-E72D297353CC}">
                <c16:uniqueId val="{00000007-E089-498C-A789-F350D8679EB5}"/>
              </c:ext>
            </c:extLst>
          </c:dPt>
          <c:dPt>
            <c:idx val="4"/>
            <c:bubble3D val="0"/>
            <c:spPr>
              <a:solidFill>
                <a:schemeClr val="accent6">
                  <a:lumMod val="60000"/>
                  <a:lumOff val="40000"/>
                </a:schemeClr>
              </a:solidFill>
              <a:ln>
                <a:noFill/>
              </a:ln>
            </c:spPr>
            <c:extLst>
              <c:ext xmlns:c16="http://schemas.microsoft.com/office/drawing/2014/chart" uri="{C3380CC4-5D6E-409C-BE32-E72D297353CC}">
                <c16:uniqueId val="{00000009-E089-498C-A789-F350D8679EB5}"/>
              </c:ext>
            </c:extLst>
          </c:dPt>
          <c:dPt>
            <c:idx val="5"/>
            <c:bubble3D val="0"/>
            <c:spPr>
              <a:solidFill>
                <a:srgbClr val="193C6C"/>
              </a:solidFill>
              <a:ln>
                <a:noFill/>
              </a:ln>
            </c:spPr>
            <c:extLst>
              <c:ext xmlns:c16="http://schemas.microsoft.com/office/drawing/2014/chart" uri="{C3380CC4-5D6E-409C-BE32-E72D297353CC}">
                <c16:uniqueId val="{0000000B-E089-498C-A789-F350D8679EB5}"/>
              </c:ext>
            </c:extLst>
          </c:dPt>
          <c:dLbls>
            <c:dLbl>
              <c:idx val="0"/>
              <c:layout>
                <c:manualLayout>
                  <c:x val="0"/>
                  <c:y val="3.3161956013577992E-2"/>
                </c:manualLayout>
              </c:layout>
              <c:tx>
                <c:rich>
                  <a:bodyPr wrap="none"/>
                  <a:lstStyle/>
                  <a:p>
                    <a:pPr>
                      <a:defRPr sz="1800">
                        <a:solidFill>
                          <a:schemeClr val="tx1"/>
                        </a:solidFill>
                        <a:latin typeface="Arial" panose="020B0604020202020204" pitchFamily="34" charset="0"/>
                        <a:ea typeface="+mj-ea"/>
                        <a:cs typeface="Arial" panose="020B0604020202020204" pitchFamily="34" charset="0"/>
                        <a:sym typeface="+mj-lt"/>
                      </a:defRPr>
                    </a:pPr>
                    <a:fld id="{75F5EEB5-CEC3-43F5-9BC9-8141CB01854C}" type="VALUE">
                      <a:rPr lang="en-US" sz="1010" dirty="0">
                        <a:solidFill>
                          <a:schemeClr val="tx1"/>
                        </a:solidFill>
                        <a:latin typeface="Arial" panose="020B0604020202020204" pitchFamily="34" charset="0"/>
                        <a:cs typeface="Arial" panose="020B0604020202020204" pitchFamily="34" charset="0"/>
                      </a:rPr>
                      <a:pPr>
                        <a:defRPr sz="1800">
                          <a:solidFill>
                            <a:schemeClr val="tx1"/>
                          </a:solidFill>
                          <a:latin typeface="Arial" panose="020B0604020202020204" pitchFamily="34" charset="0"/>
                          <a:ea typeface="+mj-ea"/>
                          <a:cs typeface="Arial" panose="020B0604020202020204" pitchFamily="34" charset="0"/>
                          <a:sym typeface="+mj-lt"/>
                        </a:defRPr>
                      </a:pPr>
                      <a:t>[VALUE]</a:t>
                    </a:fld>
                    <a:endParaRPr lang="en-GB"/>
                  </a:p>
                </c:rich>
              </c:tx>
              <c:numFmt formatCode="#,##0.0&quot;%&quot;;&quot;-&quot;#,##0.0&quot;%&quot;" sourceLinked="0"/>
              <c:spPr>
                <a:noFill/>
                <a:ln>
                  <a:noFill/>
                </a:ln>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5639026421233135"/>
                      <c:h val="0.14500566599589407"/>
                    </c:manualLayout>
                  </c15:layout>
                  <c15:dlblFieldTable/>
                  <c15:showDataLabelsRange val="0"/>
                </c:ext>
                <c:ext xmlns:c16="http://schemas.microsoft.com/office/drawing/2014/chart" uri="{C3380CC4-5D6E-409C-BE32-E72D297353CC}">
                  <c16:uniqueId val="{00000001-E089-498C-A789-F350D8679EB5}"/>
                </c:ext>
              </c:extLst>
            </c:dLbl>
            <c:spPr>
              <a:noFill/>
              <a:ln>
                <a:noFill/>
              </a:ln>
              <a:effectLst/>
            </c:spPr>
            <c:txPr>
              <a:bodyPr wrap="square" lIns="38100" tIns="19050" rIns="38100" bIns="19050" anchor="ctr">
                <a:spAutoFit/>
              </a:bodyPr>
              <a:lstStyle/>
              <a:p>
                <a:pPr>
                  <a:defRPr>
                    <a:solidFill>
                      <a:schemeClr val="tx1"/>
                    </a:solidFill>
                    <a:latin typeface="Arial" panose="020B0604020202020204" pitchFamily="34" charset="0"/>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_(* #,##0.00_);_(* \(#,##0.00\);_(* "-"??_);_(@_)</c:formatCode>
                <c:ptCount val="6"/>
                <c:pt idx="0">
                  <c:v>56.6</c:v>
                </c:pt>
                <c:pt idx="1">
                  <c:v>1</c:v>
                </c:pt>
                <c:pt idx="2">
                  <c:v>1.2</c:v>
                </c:pt>
                <c:pt idx="3" formatCode="0.0">
                  <c:v>0.01</c:v>
                </c:pt>
                <c:pt idx="4" formatCode="0.0">
                  <c:v>3.5</c:v>
                </c:pt>
                <c:pt idx="5" formatCode="0.0">
                  <c:v>37.6</c:v>
                </c:pt>
              </c:numCache>
            </c:numRef>
          </c:val>
          <c:extLst>
            <c:ext xmlns:c16="http://schemas.microsoft.com/office/drawing/2014/chart" uri="{C3380CC4-5D6E-409C-BE32-E72D297353CC}">
              <c16:uniqueId val="{0000000C-E089-498C-A789-F350D8679EB5}"/>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589497891912612"/>
          <c:y val="2.9850746268656716E-2"/>
          <c:w val="0.62782675354541972"/>
          <c:h val="0.94029850746268662"/>
        </c:manualLayout>
      </c:layout>
      <c:doughnutChart>
        <c:varyColors val="0"/>
        <c:ser>
          <c:idx val="0"/>
          <c:order val="0"/>
          <c:dPt>
            <c:idx val="0"/>
            <c:bubble3D val="0"/>
            <c:spPr>
              <a:solidFill>
                <a:srgbClr val="FFCC66"/>
              </a:solidFill>
              <a:ln>
                <a:noFill/>
              </a:ln>
            </c:spPr>
            <c:extLst>
              <c:ext xmlns:c16="http://schemas.microsoft.com/office/drawing/2014/chart" uri="{C3380CC4-5D6E-409C-BE32-E72D297353CC}">
                <c16:uniqueId val="{00000001-B0DF-46EF-ABC1-821D6C84CAE7}"/>
              </c:ext>
            </c:extLst>
          </c:dPt>
          <c:dPt>
            <c:idx val="1"/>
            <c:bubble3D val="0"/>
            <c:spPr>
              <a:solidFill>
                <a:srgbClr val="85CFE9"/>
              </a:solidFill>
              <a:ln>
                <a:noFill/>
              </a:ln>
            </c:spPr>
            <c:extLst>
              <c:ext xmlns:c16="http://schemas.microsoft.com/office/drawing/2014/chart" uri="{C3380CC4-5D6E-409C-BE32-E72D297353CC}">
                <c16:uniqueId val="{00000003-B0DF-46EF-ABC1-821D6C84CAE7}"/>
              </c:ext>
            </c:extLst>
          </c:dPt>
          <c:dPt>
            <c:idx val="2"/>
            <c:bubble3D val="0"/>
            <c:spPr>
              <a:solidFill>
                <a:srgbClr val="A9D18E"/>
              </a:solidFill>
              <a:ln>
                <a:noFill/>
              </a:ln>
            </c:spPr>
            <c:extLst>
              <c:ext xmlns:c16="http://schemas.microsoft.com/office/drawing/2014/chart" uri="{C3380CC4-5D6E-409C-BE32-E72D297353CC}">
                <c16:uniqueId val="{00000005-B0DF-46EF-ABC1-821D6C84CAE7}"/>
              </c:ext>
            </c:extLst>
          </c:dPt>
          <c:dPt>
            <c:idx val="3"/>
            <c:bubble3D val="0"/>
            <c:spPr>
              <a:solidFill>
                <a:srgbClr val="FF6600"/>
              </a:solidFill>
              <a:ln>
                <a:noFill/>
              </a:ln>
            </c:spPr>
            <c:extLst>
              <c:ext xmlns:c16="http://schemas.microsoft.com/office/drawing/2014/chart" uri="{C3380CC4-5D6E-409C-BE32-E72D297353CC}">
                <c16:uniqueId val="{00000007-B0DF-46EF-ABC1-821D6C84CAE7}"/>
              </c:ext>
            </c:extLst>
          </c:dPt>
          <c:dPt>
            <c:idx val="4"/>
            <c:bubble3D val="0"/>
            <c:spPr>
              <a:solidFill>
                <a:schemeClr val="accent5"/>
              </a:solidFill>
              <a:ln>
                <a:noFill/>
              </a:ln>
            </c:spPr>
            <c:extLst>
              <c:ext xmlns:c16="http://schemas.microsoft.com/office/drawing/2014/chart" uri="{C3380CC4-5D6E-409C-BE32-E72D297353CC}">
                <c16:uniqueId val="{00000009-B0DF-46EF-ABC1-821D6C84CAE7}"/>
              </c:ext>
            </c:extLst>
          </c:dPt>
          <c:dPt>
            <c:idx val="5"/>
            <c:bubble3D val="0"/>
            <c:spPr>
              <a:solidFill>
                <a:srgbClr val="193C6C"/>
              </a:solidFill>
              <a:ln>
                <a:noFill/>
              </a:ln>
            </c:spPr>
            <c:extLst>
              <c:ext xmlns:c16="http://schemas.microsoft.com/office/drawing/2014/chart" uri="{C3380CC4-5D6E-409C-BE32-E72D297353CC}">
                <c16:uniqueId val="{0000000B-B0DF-46EF-ABC1-821D6C84CAE7}"/>
              </c:ext>
            </c:extLst>
          </c:dPt>
          <c:val>
            <c:numRef>
              <c:f>Sheet1!$A$1:$A$6</c:f>
              <c:numCache>
                <c:formatCode>General</c:formatCode>
                <c:ptCount val="6"/>
                <c:pt idx="0">
                  <c:v>2.92</c:v>
                </c:pt>
                <c:pt idx="1">
                  <c:v>10.82</c:v>
                </c:pt>
                <c:pt idx="2">
                  <c:v>15.13</c:v>
                </c:pt>
                <c:pt idx="3">
                  <c:v>2.1800000000000002</c:v>
                </c:pt>
                <c:pt idx="4">
                  <c:v>8.15</c:v>
                </c:pt>
                <c:pt idx="5">
                  <c:v>60.79</c:v>
                </c:pt>
              </c:numCache>
            </c:numRef>
          </c:val>
          <c:extLst>
            <c:ext xmlns:c16="http://schemas.microsoft.com/office/drawing/2014/chart" uri="{C3380CC4-5D6E-409C-BE32-E72D297353CC}">
              <c16:uniqueId val="{0000000C-B0DF-46EF-ABC1-821D6C84CAE7}"/>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206209275584515"/>
          <c:y val="2.9495178672716959E-2"/>
          <c:w val="0.63587581448830965"/>
          <c:h val="0.9410096426545661"/>
        </c:manualLayout>
      </c:layout>
      <c:doughnutChart>
        <c:varyColors val="0"/>
        <c:ser>
          <c:idx val="0"/>
          <c:order val="0"/>
          <c:dPt>
            <c:idx val="0"/>
            <c:bubble3D val="0"/>
            <c:spPr>
              <a:solidFill>
                <a:srgbClr val="FFCC66"/>
              </a:solidFill>
              <a:ln>
                <a:noFill/>
              </a:ln>
            </c:spPr>
            <c:extLst>
              <c:ext xmlns:c16="http://schemas.microsoft.com/office/drawing/2014/chart" uri="{C3380CC4-5D6E-409C-BE32-E72D297353CC}">
                <c16:uniqueId val="{00000001-B200-412F-80BB-52F7853BB2FE}"/>
              </c:ext>
            </c:extLst>
          </c:dPt>
          <c:dPt>
            <c:idx val="1"/>
            <c:bubble3D val="0"/>
            <c:spPr>
              <a:solidFill>
                <a:srgbClr val="85CFE9"/>
              </a:solidFill>
              <a:ln>
                <a:noFill/>
              </a:ln>
            </c:spPr>
            <c:extLst>
              <c:ext xmlns:c16="http://schemas.microsoft.com/office/drawing/2014/chart" uri="{C3380CC4-5D6E-409C-BE32-E72D297353CC}">
                <c16:uniqueId val="{00000003-B200-412F-80BB-52F7853BB2FE}"/>
              </c:ext>
            </c:extLst>
          </c:dPt>
          <c:dPt>
            <c:idx val="2"/>
            <c:bubble3D val="0"/>
            <c:spPr>
              <a:solidFill>
                <a:srgbClr val="00568F"/>
              </a:solidFill>
              <a:ln>
                <a:noFill/>
              </a:ln>
            </c:spPr>
            <c:extLst>
              <c:ext xmlns:c16="http://schemas.microsoft.com/office/drawing/2014/chart" uri="{C3380CC4-5D6E-409C-BE32-E72D297353CC}">
                <c16:uniqueId val="{00000005-B200-412F-80BB-52F7853BB2FE}"/>
              </c:ext>
            </c:extLst>
          </c:dPt>
          <c:dPt>
            <c:idx val="3"/>
            <c:bubble3D val="0"/>
            <c:spPr>
              <a:solidFill>
                <a:srgbClr val="FF6600"/>
              </a:solidFill>
              <a:ln>
                <a:noFill/>
              </a:ln>
            </c:spPr>
            <c:extLst>
              <c:ext xmlns:c16="http://schemas.microsoft.com/office/drawing/2014/chart" uri="{C3380CC4-5D6E-409C-BE32-E72D297353CC}">
                <c16:uniqueId val="{00000007-B200-412F-80BB-52F7853BB2FE}"/>
              </c:ext>
            </c:extLst>
          </c:dPt>
          <c:dPt>
            <c:idx val="4"/>
            <c:bubble3D val="0"/>
            <c:spPr>
              <a:solidFill>
                <a:schemeClr val="accent5"/>
              </a:solidFill>
              <a:ln>
                <a:noFill/>
              </a:ln>
            </c:spPr>
            <c:extLst>
              <c:ext xmlns:c16="http://schemas.microsoft.com/office/drawing/2014/chart" uri="{C3380CC4-5D6E-409C-BE32-E72D297353CC}">
                <c16:uniqueId val="{00000009-B200-412F-80BB-52F7853BB2FE}"/>
              </c:ext>
            </c:extLst>
          </c:dPt>
          <c:dPt>
            <c:idx val="5"/>
            <c:bubble3D val="0"/>
            <c:spPr>
              <a:solidFill>
                <a:srgbClr val="193C6C"/>
              </a:solidFill>
              <a:ln>
                <a:noFill/>
              </a:ln>
            </c:spPr>
            <c:extLst>
              <c:ext xmlns:c16="http://schemas.microsoft.com/office/drawing/2014/chart" uri="{C3380CC4-5D6E-409C-BE32-E72D297353CC}">
                <c16:uniqueId val="{0000000B-B200-412F-80BB-52F7853BB2FE}"/>
              </c:ext>
            </c:extLst>
          </c:dPt>
          <c:dLbls>
            <c:dLbl>
              <c:idx val="0"/>
              <c:layout>
                <c:manualLayout>
                  <c:x val="0"/>
                  <c:y val="3.3161956013577992E-2"/>
                </c:manualLayout>
              </c:layout>
              <c:tx>
                <c:rich>
                  <a:bodyPr wrap="none"/>
                  <a:lstStyle/>
                  <a:p>
                    <a:pPr>
                      <a:defRPr sz="1800">
                        <a:solidFill>
                          <a:schemeClr val="tx1"/>
                        </a:solidFill>
                        <a:latin typeface="Arial" panose="020B0604020202020204" pitchFamily="34" charset="0"/>
                        <a:ea typeface="+mj-ea"/>
                        <a:cs typeface="Arial" panose="020B0604020202020204" pitchFamily="34" charset="0"/>
                        <a:sym typeface="+mj-lt"/>
                      </a:defRPr>
                    </a:pPr>
                    <a:fld id="{75F5EEB5-CEC3-43F5-9BC9-8141CB01854C}" type="VALUE">
                      <a:rPr lang="en-US" sz="1010" dirty="0">
                        <a:solidFill>
                          <a:schemeClr val="tx1"/>
                        </a:solidFill>
                        <a:latin typeface="Arial" panose="020B0604020202020204" pitchFamily="34" charset="0"/>
                        <a:cs typeface="Arial" panose="020B0604020202020204" pitchFamily="34" charset="0"/>
                      </a:rPr>
                      <a:pPr>
                        <a:defRPr sz="1800">
                          <a:solidFill>
                            <a:schemeClr val="tx1"/>
                          </a:solidFill>
                          <a:latin typeface="Arial" panose="020B0604020202020204" pitchFamily="34" charset="0"/>
                          <a:ea typeface="+mj-ea"/>
                          <a:cs typeface="Arial" panose="020B0604020202020204" pitchFamily="34" charset="0"/>
                          <a:sym typeface="+mj-lt"/>
                        </a:defRPr>
                      </a:pPr>
                      <a:t>[VALUE]</a:t>
                    </a:fld>
                    <a:endParaRPr lang="en-GB"/>
                  </a:p>
                </c:rich>
              </c:tx>
              <c:numFmt formatCode="#,##0.0&quot;%&quot;;&quot;-&quot;#,##0.0&quot;%&quot;" sourceLinked="0"/>
              <c:spPr>
                <a:noFill/>
                <a:ln>
                  <a:noFill/>
                </a:ln>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5639026421233135"/>
                      <c:h val="0.14500566599589407"/>
                    </c:manualLayout>
                  </c15:layout>
                  <c15:dlblFieldTable/>
                  <c15:showDataLabelsRange val="0"/>
                </c:ext>
                <c:ext xmlns:c16="http://schemas.microsoft.com/office/drawing/2014/chart" uri="{C3380CC4-5D6E-409C-BE32-E72D297353CC}">
                  <c16:uniqueId val="{00000001-B200-412F-80BB-52F7853BB2FE}"/>
                </c:ext>
              </c:extLst>
            </c:dLbl>
            <c:spPr>
              <a:noFill/>
              <a:ln>
                <a:noFill/>
              </a:ln>
              <a:effectLst/>
            </c:spPr>
            <c:txPr>
              <a:bodyPr wrap="square" lIns="38100" tIns="19050" rIns="38100" bIns="19050" anchor="ctr">
                <a:spAutoFit/>
              </a:bodyPr>
              <a:lstStyle/>
              <a:p>
                <a:pPr>
                  <a:defRPr>
                    <a:solidFill>
                      <a:schemeClr val="tx1"/>
                    </a:solidFill>
                    <a:latin typeface="Arial" panose="020B0604020202020204" pitchFamily="34" charset="0"/>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_(* #,##0.00_);_(* \(#,##0.00\);_(* "-"??_);_(@_)</c:formatCode>
                <c:ptCount val="6"/>
                <c:pt idx="0">
                  <c:v>49</c:v>
                </c:pt>
                <c:pt idx="1">
                  <c:v>17</c:v>
                </c:pt>
                <c:pt idx="2">
                  <c:v>4</c:v>
                </c:pt>
                <c:pt idx="3" formatCode="0.0">
                  <c:v>0.24</c:v>
                </c:pt>
                <c:pt idx="4" formatCode="0.0">
                  <c:v>4</c:v>
                </c:pt>
                <c:pt idx="5" formatCode="0.0">
                  <c:v>26</c:v>
                </c:pt>
              </c:numCache>
            </c:numRef>
          </c:val>
          <c:extLst>
            <c:ext xmlns:c16="http://schemas.microsoft.com/office/drawing/2014/chart" uri="{C3380CC4-5D6E-409C-BE32-E72D297353CC}">
              <c16:uniqueId val="{0000000C-B200-412F-80BB-52F7853BB2FE}"/>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865497076023391"/>
          <c:y val="4.1733547351524881E-2"/>
          <c:w val="0.74204028589993498"/>
          <c:h val="0.9165329052969502"/>
        </c:manualLayout>
      </c:layout>
      <c:doughnutChart>
        <c:varyColors val="0"/>
        <c:ser>
          <c:idx val="0"/>
          <c:order val="0"/>
          <c:dPt>
            <c:idx val="0"/>
            <c:bubble3D val="0"/>
            <c:spPr>
              <a:solidFill>
                <a:srgbClr val="009DCC"/>
              </a:solidFill>
              <a:ln>
                <a:noFill/>
              </a:ln>
            </c:spPr>
            <c:extLst>
              <c:ext xmlns:c16="http://schemas.microsoft.com/office/drawing/2014/chart" uri="{C3380CC4-5D6E-409C-BE32-E72D297353CC}">
                <c16:uniqueId val="{00000000-E92A-4F9F-A106-DB8B849D6B48}"/>
              </c:ext>
            </c:extLst>
          </c:dPt>
          <c:dPt>
            <c:idx val="1"/>
            <c:bubble3D val="0"/>
            <c:spPr>
              <a:solidFill>
                <a:srgbClr val="193C6C"/>
              </a:solidFill>
              <a:ln>
                <a:noFill/>
              </a:ln>
            </c:spPr>
            <c:extLst>
              <c:ext xmlns:c16="http://schemas.microsoft.com/office/drawing/2014/chart" uri="{C3380CC4-5D6E-409C-BE32-E72D297353CC}">
                <c16:uniqueId val="{00000001-E92A-4F9F-A106-DB8B849D6B48}"/>
              </c:ext>
            </c:extLst>
          </c:dPt>
          <c:dPt>
            <c:idx val="2"/>
            <c:bubble3D val="0"/>
            <c:spPr>
              <a:solidFill>
                <a:srgbClr val="FBBB21"/>
              </a:solidFill>
              <a:ln>
                <a:noFill/>
              </a:ln>
            </c:spPr>
            <c:extLst>
              <c:ext xmlns:c16="http://schemas.microsoft.com/office/drawing/2014/chart" uri="{C3380CC4-5D6E-409C-BE32-E72D297353CC}">
                <c16:uniqueId val="{00000002-E92A-4F9F-A106-DB8B849D6B48}"/>
              </c:ext>
            </c:extLst>
          </c:dPt>
          <c:dPt>
            <c:idx val="3"/>
            <c:bubble3D val="0"/>
            <c:spPr>
              <a:solidFill>
                <a:srgbClr val="898DAD"/>
              </a:solidFill>
              <a:ln>
                <a:noFill/>
              </a:ln>
            </c:spPr>
            <c:extLst>
              <c:ext xmlns:c16="http://schemas.microsoft.com/office/drawing/2014/chart" uri="{C3380CC4-5D6E-409C-BE32-E72D297353CC}">
                <c16:uniqueId val="{00000003-E92A-4F9F-A106-DB8B849D6B48}"/>
              </c:ext>
            </c:extLst>
          </c:dPt>
          <c:dLbls>
            <c:dLbl>
              <c:idx val="1"/>
              <c:layout>
                <c:manualLayout>
                  <c:x val="1.0396361273554255E-2"/>
                  <c:y val="-2.0064205457463884E-2"/>
                </c:manualLayout>
              </c:layout>
              <c:numFmt formatCode="#,##0&quot;%&quot;;&quot;-&quot;#,##0&quot;%&quot;" sourceLinked="0"/>
              <c:spPr>
                <a:noFill/>
                <a:ln>
                  <a:noFill/>
                </a:ln>
              </c:spPr>
              <c:txPr>
                <a:bodyPr wrap="none"/>
                <a:lstStyle/>
                <a:p>
                  <a:pPr>
                    <a:defRPr sz="14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2A-4F9F-A106-DB8B849D6B48}"/>
                </c:ext>
              </c:extLst>
            </c:dLbl>
            <c:dLbl>
              <c:idx val="2"/>
              <c:layout>
                <c:manualLayout>
                  <c:x val="2.2092267706302793E-2"/>
                  <c:y val="-1.6051364365971107E-3"/>
                </c:manualLayout>
              </c:layout>
              <c:numFmt formatCode="#,##0&quot;%&quot;;&quot;-&quot;#,##0&quot;%&quot;" sourceLinked="0"/>
              <c:spPr>
                <a:noFill/>
                <a:ln>
                  <a:noFill/>
                </a:ln>
              </c:spPr>
              <c:txPr>
                <a:bodyPr wrap="none"/>
                <a:lstStyle/>
                <a:p>
                  <a:pPr>
                    <a:defRPr sz="14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2A-4F9F-A106-DB8B849D6B48}"/>
                </c:ext>
              </c:extLst>
            </c:dLbl>
            <c:dLbl>
              <c:idx val="3"/>
              <c:layout>
                <c:manualLayout>
                  <c:x val="-1.0396361273554255E-2"/>
                  <c:y val="6.420545746388443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92A-4F9F-A106-DB8B849D6B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1.6</c:v>
                </c:pt>
                <c:pt idx="1">
                  <c:v>17.8</c:v>
                </c:pt>
                <c:pt idx="2">
                  <c:v>11.700000000000001</c:v>
                </c:pt>
                <c:pt idx="3">
                  <c:v>69</c:v>
                </c:pt>
              </c:numCache>
            </c:numRef>
          </c:val>
          <c:extLst>
            <c:ext xmlns:c16="http://schemas.microsoft.com/office/drawing/2014/chart" uri="{C3380CC4-5D6E-409C-BE32-E72D297353CC}">
              <c16:uniqueId val="{00000004-E92A-4F9F-A106-DB8B849D6B48}"/>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865497076023391"/>
          <c:y val="4.1733547351524881E-2"/>
          <c:w val="0.74204028589993498"/>
          <c:h val="0.9165329052969502"/>
        </c:manualLayout>
      </c:layout>
      <c:doughnutChart>
        <c:varyColors val="0"/>
        <c:ser>
          <c:idx val="0"/>
          <c:order val="0"/>
          <c:dPt>
            <c:idx val="0"/>
            <c:bubble3D val="0"/>
            <c:spPr>
              <a:solidFill>
                <a:srgbClr val="009DCC"/>
              </a:solidFill>
              <a:ln>
                <a:noFill/>
              </a:ln>
            </c:spPr>
            <c:extLst>
              <c:ext xmlns:c16="http://schemas.microsoft.com/office/drawing/2014/chart" uri="{C3380CC4-5D6E-409C-BE32-E72D297353CC}">
                <c16:uniqueId val="{00000000-FE90-4B78-BD53-4245B7061A48}"/>
              </c:ext>
            </c:extLst>
          </c:dPt>
          <c:dPt>
            <c:idx val="1"/>
            <c:bubble3D val="0"/>
            <c:spPr>
              <a:solidFill>
                <a:srgbClr val="193C6C"/>
              </a:solidFill>
              <a:ln>
                <a:noFill/>
              </a:ln>
            </c:spPr>
            <c:extLst>
              <c:ext xmlns:c16="http://schemas.microsoft.com/office/drawing/2014/chart" uri="{C3380CC4-5D6E-409C-BE32-E72D297353CC}">
                <c16:uniqueId val="{00000001-FE90-4B78-BD53-4245B7061A48}"/>
              </c:ext>
            </c:extLst>
          </c:dPt>
          <c:dLbls>
            <c:dLbl>
              <c:idx val="0"/>
              <c:layout>
                <c:manualLayout>
                  <c:x val="1.0396359145910349E-2"/>
                  <c:y val="0"/>
                </c:manualLayout>
              </c:layout>
              <c:tx>
                <c:rich>
                  <a:bodyPr wrap="none"/>
                  <a:lstStyle/>
                  <a:p>
                    <a:pPr>
                      <a:defRPr sz="1400">
                        <a:solidFill>
                          <a:schemeClr val="bg1"/>
                        </a:solidFill>
                        <a:latin typeface="+mn-lt"/>
                        <a:ea typeface="+mn-ea"/>
                        <a:cs typeface="+mn-cs"/>
                        <a:sym typeface="+mn-lt"/>
                      </a:defRPr>
                    </a:pPr>
                    <a:r>
                      <a:rPr lang="en-US" dirty="0" smtClean="0"/>
                      <a:t>15.5%</a:t>
                    </a:r>
                    <a:endParaRPr lang="en-US" dirty="0"/>
                  </a:p>
                </c:rich>
              </c:tx>
              <c:numFmt formatCode="#,##0&quot;%&quot;;&quot;-&quot;#,##0&quot;%&quot;" sourceLinked="0"/>
              <c:spPr>
                <a:noFill/>
                <a:ln>
                  <a:noFill/>
                </a:ln>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90-4B78-BD53-4245B7061A48}"/>
                </c:ext>
              </c:extLst>
            </c:dLbl>
            <c:dLbl>
              <c:idx val="1"/>
              <c:layout>
                <c:manualLayout>
                  <c:x val="8.3820440961163867E-2"/>
                  <c:y val="2.6485003981243802E-2"/>
                </c:manualLayout>
              </c:layout>
              <c:tx>
                <c:rich>
                  <a:bodyPr wrap="none"/>
                  <a:lstStyle/>
                  <a:p>
                    <a:pPr>
                      <a:defRPr sz="1400">
                        <a:solidFill>
                          <a:schemeClr val="bg1"/>
                        </a:solidFill>
                        <a:latin typeface="+mn-lt"/>
                        <a:ea typeface="+mn-ea"/>
                        <a:cs typeface="+mn-cs"/>
                        <a:sym typeface="+mn-lt"/>
                      </a:defRPr>
                    </a:pPr>
                    <a:r>
                      <a:rPr lang="en-US" dirty="0" smtClean="0"/>
                      <a:t>84.5%</a:t>
                    </a:r>
                    <a:endParaRPr lang="en-US" dirty="0"/>
                  </a:p>
                </c:rich>
              </c:tx>
              <c:numFmt formatCode="#,##0&quot;%&quot;;&quot;-&quot;#,##0&quot;%&quot;" sourceLinked="0"/>
              <c:spPr>
                <a:noFill/>
                <a:ln>
                  <a:noFill/>
                </a:ln>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90-4B78-BD53-4245B7061A4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15.9</c:v>
                </c:pt>
                <c:pt idx="1">
                  <c:v>84.1</c:v>
                </c:pt>
              </c:numCache>
            </c:numRef>
          </c:val>
          <c:extLst>
            <c:ext xmlns:c16="http://schemas.microsoft.com/office/drawing/2014/chart" uri="{C3380CC4-5D6E-409C-BE32-E72D297353CC}">
              <c16:uniqueId val="{00000002-FE90-4B78-BD53-4245B7061A48}"/>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spPr>
    <a:ln>
      <a:noFill/>
    </a:ln>
  </c:sp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865499708983685"/>
          <c:y val="4.1733547351524881E-2"/>
          <c:w val="0.74204028589993498"/>
          <c:h val="0.9165329052969502"/>
        </c:manualLayout>
      </c:layout>
      <c:doughnutChart>
        <c:varyColors val="0"/>
        <c:ser>
          <c:idx val="0"/>
          <c:order val="0"/>
          <c:dPt>
            <c:idx val="0"/>
            <c:bubble3D val="0"/>
            <c:spPr>
              <a:solidFill>
                <a:srgbClr val="898DAD"/>
              </a:solidFill>
              <a:ln>
                <a:noFill/>
              </a:ln>
            </c:spPr>
            <c:extLst>
              <c:ext xmlns:c16="http://schemas.microsoft.com/office/drawing/2014/chart" uri="{C3380CC4-5D6E-409C-BE32-E72D297353CC}">
                <c16:uniqueId val="{00000000-FCC8-4CA4-844C-77AC6DC43F27}"/>
              </c:ext>
            </c:extLst>
          </c:dPt>
          <c:dPt>
            <c:idx val="1"/>
            <c:bubble3D val="0"/>
            <c:spPr>
              <a:solidFill>
                <a:srgbClr val="85CFE9"/>
              </a:solidFill>
              <a:ln>
                <a:solidFill>
                  <a:srgbClr val="85CFE9"/>
                </a:solidFill>
              </a:ln>
            </c:spPr>
            <c:extLst>
              <c:ext xmlns:c16="http://schemas.microsoft.com/office/drawing/2014/chart" uri="{C3380CC4-5D6E-409C-BE32-E72D297353CC}">
                <c16:uniqueId val="{00000001-FCC8-4CA4-844C-77AC6DC43F27}"/>
              </c:ext>
            </c:extLst>
          </c:dPt>
          <c:dPt>
            <c:idx val="2"/>
            <c:bubble3D val="0"/>
            <c:spPr>
              <a:solidFill>
                <a:srgbClr val="FBBB21"/>
              </a:solidFill>
              <a:ln>
                <a:noFill/>
              </a:ln>
            </c:spPr>
            <c:extLst>
              <c:ext xmlns:c16="http://schemas.microsoft.com/office/drawing/2014/chart" uri="{C3380CC4-5D6E-409C-BE32-E72D297353CC}">
                <c16:uniqueId val="{00000002-FCC8-4CA4-844C-77AC6DC43F27}"/>
              </c:ext>
            </c:extLst>
          </c:dPt>
          <c:dPt>
            <c:idx val="3"/>
            <c:bubble3D val="0"/>
            <c:spPr>
              <a:solidFill>
                <a:srgbClr val="323335"/>
              </a:solidFill>
              <a:ln>
                <a:noFill/>
              </a:ln>
            </c:spPr>
            <c:extLst>
              <c:ext xmlns:c16="http://schemas.microsoft.com/office/drawing/2014/chart" uri="{C3380CC4-5D6E-409C-BE32-E72D297353CC}">
                <c16:uniqueId val="{00000003-FCC8-4CA4-844C-77AC6DC43F27}"/>
              </c:ext>
            </c:extLst>
          </c:dPt>
          <c:dPt>
            <c:idx val="4"/>
            <c:bubble3D val="0"/>
            <c:spPr>
              <a:solidFill>
                <a:srgbClr val="193C6C"/>
              </a:solidFill>
              <a:ln>
                <a:noFill/>
              </a:ln>
            </c:spPr>
            <c:extLst>
              <c:ext xmlns:c16="http://schemas.microsoft.com/office/drawing/2014/chart" uri="{C3380CC4-5D6E-409C-BE32-E72D297353CC}">
                <c16:uniqueId val="{00000004-FCC8-4CA4-844C-77AC6DC43F27}"/>
              </c:ext>
            </c:extLst>
          </c:dPt>
          <c:dPt>
            <c:idx val="5"/>
            <c:bubble3D val="0"/>
            <c:spPr>
              <a:solidFill>
                <a:srgbClr val="2D84AC"/>
              </a:solidFill>
              <a:ln>
                <a:noFill/>
              </a:ln>
            </c:spPr>
            <c:extLst>
              <c:ext xmlns:c16="http://schemas.microsoft.com/office/drawing/2014/chart" uri="{C3380CC4-5D6E-409C-BE32-E72D297353CC}">
                <c16:uniqueId val="{00000005-FCC8-4CA4-844C-77AC6DC43F27}"/>
              </c:ext>
            </c:extLst>
          </c:dPt>
          <c:dLbls>
            <c:dLbl>
              <c:idx val="0"/>
              <c:layout>
                <c:manualLayout>
                  <c:x val="9.0968161143599735E-3"/>
                  <c:y val="7.2231139646869984E-3"/>
                </c:manualLayout>
              </c:layout>
              <c:numFmt formatCode="#,##0&quot;%&quot;;&quot;-&quot;#,##0&quot;%&quot;" sourceLinked="0"/>
              <c:spPr>
                <a:noFill/>
                <a:ln>
                  <a:noFill/>
                </a:ln>
              </c:spPr>
              <c:txPr>
                <a:bodyPr wrap="none"/>
                <a:lstStyle/>
                <a:p>
                  <a:pPr>
                    <a:defRPr sz="14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CC8-4CA4-844C-77AC6DC43F27}"/>
                </c:ext>
              </c:extLst>
            </c:dLbl>
            <c:dLbl>
              <c:idx val="1"/>
              <c:layout>
                <c:manualLayout>
                  <c:x val="-1.364522417153996E-2"/>
                  <c:y val="-7.2231139646869984E-3"/>
                </c:manualLayout>
              </c:layout>
              <c:numFmt formatCode="#,##0&quot;%&quot;;&quot;-&quot;#,##0&quot;%&quot;" sourceLinked="0"/>
              <c:spPr>
                <a:noFill/>
                <a:ln>
                  <a:noFill/>
                </a:ln>
              </c:spPr>
              <c:txPr>
                <a:bodyPr wrap="none"/>
                <a:lstStyle/>
                <a:p>
                  <a:pPr>
                    <a:defRPr sz="14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CC8-4CA4-844C-77AC6DC43F27}"/>
                </c:ext>
              </c:extLst>
            </c:dLbl>
            <c:dLbl>
              <c:idx val="2"/>
              <c:layout>
                <c:manualLayout>
                  <c:x val="-1.6894087069525665E-2"/>
                  <c:y val="-3.0497592295345103E-2"/>
                </c:manualLayout>
              </c:layout>
              <c:numFmt formatCode="#,##0&quot;%&quot;;&quot;-&quot;#,##0&quot;%&quot;" sourceLinked="0"/>
              <c:spPr>
                <a:noFill/>
                <a:ln>
                  <a:noFill/>
                </a:ln>
              </c:spPr>
              <c:txPr>
                <a:bodyPr wrap="none"/>
                <a:lstStyle/>
                <a:p>
                  <a:pPr>
                    <a:defRPr sz="14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CC8-4CA4-844C-77AC6DC43F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71.5</c:v>
                </c:pt>
                <c:pt idx="1">
                  <c:v>14.499999999999998</c:v>
                </c:pt>
                <c:pt idx="2">
                  <c:v>5.8999999999999995</c:v>
                </c:pt>
                <c:pt idx="3">
                  <c:v>4</c:v>
                </c:pt>
                <c:pt idx="4">
                  <c:v>2.1999999999999997</c:v>
                </c:pt>
                <c:pt idx="5">
                  <c:v>0.88372478449805625</c:v>
                </c:pt>
              </c:numCache>
            </c:numRef>
          </c:val>
          <c:extLst>
            <c:ext xmlns:c16="http://schemas.microsoft.com/office/drawing/2014/chart" uri="{C3380CC4-5D6E-409C-BE32-E72D297353CC}">
              <c16:uniqueId val="{00000006-FCC8-4CA4-844C-77AC6DC43F27}"/>
            </c:ext>
          </c:extLst>
        </c:ser>
        <c:dLbls>
          <c:showLegendKey val="0"/>
          <c:showVal val="0"/>
          <c:showCatName val="0"/>
          <c:showSerName val="0"/>
          <c:showPercent val="0"/>
          <c:showBubbleSize val="0"/>
          <c:showLeaderLines val="1"/>
        </c:dLbls>
        <c:firstSliceAng val="0"/>
        <c:holeSize val="51"/>
      </c:doughnutChart>
    </c:plotArea>
    <c:plotVisOnly val="0"/>
    <c:dispBlanksAs val="gap"/>
    <c:showDLblsOverMax val="1"/>
  </c:chart>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1" dt="2019-07-14T14:01:45.180" idx="25">
    <p:pos x="10" y="10"/>
    <p:text>I think we should just deleted this or include the link to the blog here</p:text>
    <p:extLst>
      <p:ext uri="{C676402C-5697-4E1C-873F-D02D1690AC5C}">
        <p15:threadingInfo xmlns:p15="http://schemas.microsoft.com/office/powerpoint/2012/main" timeZoneBias="-60"/>
      </p:ext>
    </p:extLst>
  </p:cm>
  <p:cm authorId="1" dt="2019-07-15T14:05:15.558" idx="31">
    <p:pos x="10" y="146"/>
    <p:text>Mia Ryan</p:text>
    <p:extLst>
      <p:ext uri="{C676402C-5697-4E1C-873F-D02D1690AC5C}">
        <p15:threadingInfo xmlns:p15="http://schemas.microsoft.com/office/powerpoint/2012/main" timeZoneBias="-60">
          <p15:parentCm authorId="1" idx="25"/>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9.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0.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1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87C794E-88B7-4F54-965C-B0B1A40C3A7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a:extLst>
              <a:ext uri="{FF2B5EF4-FFF2-40B4-BE49-F238E27FC236}">
                <a16:creationId xmlns:a16="http://schemas.microsoft.com/office/drawing/2014/main" id="{575070E6-323A-477F-8038-46A5621DD90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DDB7D1-4FBE-44C8-92FD-8734F76859AE}" type="datetimeFigureOut">
              <a:rPr lang="en-ZA" smtClean="0"/>
              <a:t>2019/08/07</a:t>
            </a:fld>
            <a:endParaRPr lang="en-ZA"/>
          </a:p>
        </p:txBody>
      </p:sp>
      <p:sp>
        <p:nvSpPr>
          <p:cNvPr id="4" name="Footer Placeholder 3">
            <a:extLst>
              <a:ext uri="{FF2B5EF4-FFF2-40B4-BE49-F238E27FC236}">
                <a16:creationId xmlns:a16="http://schemas.microsoft.com/office/drawing/2014/main" id="{59F89105-14CB-4A72-9FB1-7678CCE1135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a:extLst>
              <a:ext uri="{FF2B5EF4-FFF2-40B4-BE49-F238E27FC236}">
                <a16:creationId xmlns:a16="http://schemas.microsoft.com/office/drawing/2014/main" id="{8E8EA71F-6694-48D6-BDB3-ED7FBA139E4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AF89712-7299-42ED-B073-9EAE9135EDE7}" type="slidenum">
              <a:rPr lang="en-ZA" smtClean="0"/>
              <a:t>‹#›</a:t>
            </a:fld>
            <a:endParaRPr lang="en-ZA"/>
          </a:p>
        </p:txBody>
      </p:sp>
    </p:spTree>
    <p:extLst>
      <p:ext uri="{BB962C8B-B14F-4D97-AF65-F5344CB8AC3E}">
        <p14:creationId xmlns:p14="http://schemas.microsoft.com/office/powerpoint/2010/main" val="346970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86FA58-69E8-9D4B-979A-22CE1887E2D4}" type="datetimeFigureOut">
              <a:rPr lang="en-US" smtClean="0"/>
              <a:t>8/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4E9EEB-230A-BA43-8584-B0FA442A12EA}" type="slidenum">
              <a:rPr lang="en-US" smtClean="0"/>
              <a:t>‹#›</a:t>
            </a:fld>
            <a:endParaRPr lang="en-US"/>
          </a:p>
        </p:txBody>
      </p:sp>
    </p:spTree>
    <p:extLst>
      <p:ext uri="{BB962C8B-B14F-4D97-AF65-F5344CB8AC3E}">
        <p14:creationId xmlns:p14="http://schemas.microsoft.com/office/powerpoint/2010/main" val="1094077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54E9EEB-230A-BA43-8584-B0FA442A12EA}" type="slidenum">
              <a:rPr lang="en-US" smtClean="0"/>
              <a:t>5</a:t>
            </a:fld>
            <a:endParaRPr lang="en-US"/>
          </a:p>
        </p:txBody>
      </p:sp>
    </p:spTree>
    <p:extLst>
      <p:ext uri="{BB962C8B-B14F-4D97-AF65-F5344CB8AC3E}">
        <p14:creationId xmlns:p14="http://schemas.microsoft.com/office/powerpoint/2010/main" val="965516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54E9EEB-230A-BA43-8584-B0FA442A12EA}" type="slidenum">
              <a:rPr lang="en-US" smtClean="0"/>
              <a:t>10</a:t>
            </a:fld>
            <a:endParaRPr lang="en-US"/>
          </a:p>
        </p:txBody>
      </p:sp>
    </p:spTree>
    <p:extLst>
      <p:ext uri="{BB962C8B-B14F-4D97-AF65-F5344CB8AC3E}">
        <p14:creationId xmlns:p14="http://schemas.microsoft.com/office/powerpoint/2010/main" val="30604302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54E9EEB-230A-BA43-8584-B0FA442A12EA}" type="slidenum">
              <a:rPr lang="en-US" smtClean="0"/>
              <a:t>11</a:t>
            </a:fld>
            <a:endParaRPr lang="en-US"/>
          </a:p>
        </p:txBody>
      </p:sp>
    </p:spTree>
    <p:extLst>
      <p:ext uri="{BB962C8B-B14F-4D97-AF65-F5344CB8AC3E}">
        <p14:creationId xmlns:p14="http://schemas.microsoft.com/office/powerpoint/2010/main" val="12466018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1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4.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4.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4.emf"/><Relationship Id="rId4" Type="http://schemas.openxmlformats.org/officeDocument/2006/relationships/oleObject" Target="../embeddings/oleObject8.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4.emf"/><Relationship Id="rId4" Type="http://schemas.openxmlformats.org/officeDocument/2006/relationships/oleObject" Target="../embeddings/oleObject10.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4.emf"/><Relationship Id="rId4" Type="http://schemas.openxmlformats.org/officeDocument/2006/relationships/oleObject" Target="../embeddings/oleObject11.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4.emf"/><Relationship Id="rId4" Type="http://schemas.openxmlformats.org/officeDocument/2006/relationships/oleObject" Target="../embeddings/oleObject12.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plash Slide">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339809" y="1658096"/>
            <a:ext cx="7339013" cy="1918584"/>
          </a:xfrm>
          <a:prstGeom prst="rect">
            <a:avLst/>
          </a:prstGeom>
        </p:spPr>
        <p:txBody>
          <a:bodyPr/>
          <a:lstStyle>
            <a:lvl1pPr marL="0" indent="0">
              <a:lnSpc>
                <a:spcPct val="80000"/>
              </a:lnSpc>
              <a:buNone/>
              <a:defRPr sz="4400" b="1">
                <a:solidFill>
                  <a:srgbClr val="FFF8E4"/>
                </a:solidFill>
                <a:latin typeface="Arial" charset="0"/>
                <a:ea typeface="Arial" charset="0"/>
                <a:cs typeface="Arial" charset="0"/>
              </a:defRPr>
            </a:lvl1pPr>
          </a:lstStyle>
          <a:p>
            <a:pPr lvl="0"/>
            <a:r>
              <a:rPr lang="en-US" dirty="0" smtClean="0"/>
              <a:t>State of the</a:t>
            </a:r>
          </a:p>
          <a:p>
            <a:pPr lvl="0"/>
            <a:r>
              <a:rPr lang="en-US" dirty="0" smtClean="0"/>
              <a:t>Industry Report</a:t>
            </a:r>
          </a:p>
          <a:p>
            <a:pPr lvl="0"/>
            <a:r>
              <a:rPr lang="en-US" dirty="0" smtClean="0"/>
              <a:t>on Mobile Money</a:t>
            </a:r>
            <a:endParaRPr lang="en-US" dirty="0"/>
          </a:p>
        </p:txBody>
      </p:sp>
      <p:sp>
        <p:nvSpPr>
          <p:cNvPr id="4" name="Text Placeholder 2"/>
          <p:cNvSpPr>
            <a:spLocks noGrp="1"/>
          </p:cNvSpPr>
          <p:nvPr>
            <p:ph type="body" sz="quarter" idx="11" hasCustomPrompt="1"/>
          </p:nvPr>
        </p:nvSpPr>
        <p:spPr>
          <a:xfrm>
            <a:off x="372177" y="3664918"/>
            <a:ext cx="1092481" cy="502478"/>
          </a:xfrm>
          <a:prstGeom prst="rect">
            <a:avLst/>
          </a:prstGeom>
        </p:spPr>
        <p:txBody>
          <a:bodyPr/>
          <a:lstStyle>
            <a:lvl1pPr marL="0" indent="0">
              <a:lnSpc>
                <a:spcPct val="80000"/>
              </a:lnSpc>
              <a:buNone/>
              <a:defRPr sz="2400" b="1">
                <a:solidFill>
                  <a:srgbClr val="FFF8E4"/>
                </a:solidFill>
                <a:latin typeface="Arial" charset="0"/>
                <a:ea typeface="Arial" charset="0"/>
                <a:cs typeface="Arial" charset="0"/>
              </a:defRPr>
            </a:lvl1pPr>
          </a:lstStyle>
          <a:p>
            <a:pPr lvl="0"/>
            <a:r>
              <a:rPr lang="en-US" dirty="0" smtClean="0"/>
              <a:t>2018</a:t>
            </a:r>
            <a:endParaRPr lang="en-US" dirty="0"/>
          </a:p>
        </p:txBody>
      </p:sp>
    </p:spTree>
    <p:extLst>
      <p:ext uri="{BB962C8B-B14F-4D97-AF65-F5344CB8AC3E}">
        <p14:creationId xmlns:p14="http://schemas.microsoft.com/office/powerpoint/2010/main" val="422716741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931641"/>
            <a:ext cx="4038600" cy="3393579"/>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648200" y="931641"/>
            <a:ext cx="4038600" cy="3393579"/>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8229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sp>
        <p:nvSpPr>
          <p:cNvPr id="5"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7" name="Straight Connector 6"/>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628650" y="1370013"/>
            <a:ext cx="3867150" cy="3262312"/>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370013"/>
            <a:ext cx="3867150" cy="3262312"/>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628650" y="4767263"/>
            <a:ext cx="2057400" cy="274637"/>
          </a:xfrm>
          <a:prstGeom prst="rect">
            <a:avLst/>
          </a:prstGeom>
        </p:spPr>
        <p:txBody>
          <a:bodyPr/>
          <a:lstStyle/>
          <a:p>
            <a:fld id="{61EEFC3E-8671-4EA3-B49C-551C8C4AFA90}" type="datetimeFigureOut">
              <a:rPr lang="en-GB" smtClean="0"/>
              <a:t>07/08/2019</a:t>
            </a:fld>
            <a:endParaRPr lang="en-GB"/>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endParaRPr lang="en-GB"/>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fld id="{42772CF0-1AC0-453A-BACF-4BCDED90BFB0}" type="slidenum">
              <a:rPr lang="en-GB" smtClean="0"/>
              <a:t>‹#›</a:t>
            </a:fld>
            <a:endParaRPr lang="en-GB"/>
          </a:p>
        </p:txBody>
      </p:sp>
    </p:spTree>
    <p:extLst>
      <p:ext uri="{BB962C8B-B14F-4D97-AF65-F5344CB8AC3E}">
        <p14:creationId xmlns:p14="http://schemas.microsoft.com/office/powerpoint/2010/main" val="138301450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886700" cy="993775"/>
          </a:xfrm>
          <a:prstGeom prst="rect">
            <a:avLst/>
          </a:prstGeom>
        </p:spPr>
        <p:txBody>
          <a:bodyPr/>
          <a:lstStyle/>
          <a:p>
            <a:r>
              <a:rPr lang="en-US" smtClean="0"/>
              <a:t>Click to edit Master title style</a:t>
            </a:r>
            <a:endParaRPr lang="en-GB"/>
          </a:p>
        </p:txBody>
      </p:sp>
      <p:sp>
        <p:nvSpPr>
          <p:cNvPr id="3" name="Text Placeholder 2"/>
          <p:cNvSpPr>
            <a:spLocks noGrp="1"/>
          </p:cNvSpPr>
          <p:nvPr>
            <p:ph type="body" idx="1"/>
          </p:nvPr>
        </p:nvSpPr>
        <p:spPr>
          <a:xfrm>
            <a:off x="630238" y="1260475"/>
            <a:ext cx="3868737"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30238" y="1879600"/>
            <a:ext cx="3868737" cy="2762250"/>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29150" y="1260475"/>
            <a:ext cx="3887788"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29150" y="1879600"/>
            <a:ext cx="3887788" cy="2762250"/>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628650" y="4767263"/>
            <a:ext cx="2057400" cy="274637"/>
          </a:xfrm>
          <a:prstGeom prst="rect">
            <a:avLst/>
          </a:prstGeom>
        </p:spPr>
        <p:txBody>
          <a:bodyPr/>
          <a:lstStyle/>
          <a:p>
            <a:fld id="{61EEFC3E-8671-4EA3-B49C-551C8C4AFA90}" type="datetimeFigureOut">
              <a:rPr lang="en-GB" smtClean="0"/>
              <a:t>07/08/2019</a:t>
            </a:fld>
            <a:endParaRPr lang="en-GB"/>
          </a:p>
        </p:txBody>
      </p:sp>
      <p:sp>
        <p:nvSpPr>
          <p:cNvPr id="8" name="Footer Placeholder 7"/>
          <p:cNvSpPr>
            <a:spLocks noGrp="1"/>
          </p:cNvSpPr>
          <p:nvPr>
            <p:ph type="ftr" sz="quarter" idx="11"/>
          </p:nvPr>
        </p:nvSpPr>
        <p:spPr>
          <a:xfrm>
            <a:off x="3028950" y="4767263"/>
            <a:ext cx="3086100" cy="274637"/>
          </a:xfrm>
          <a:prstGeom prst="rect">
            <a:avLst/>
          </a:prstGeom>
        </p:spPr>
        <p:txBody>
          <a:bodyPr/>
          <a:lstStyle/>
          <a:p>
            <a:endParaRPr lang="en-GB"/>
          </a:p>
        </p:txBody>
      </p:sp>
      <p:sp>
        <p:nvSpPr>
          <p:cNvPr id="9" name="Slide Number Placeholder 8"/>
          <p:cNvSpPr>
            <a:spLocks noGrp="1"/>
          </p:cNvSpPr>
          <p:nvPr>
            <p:ph type="sldNum" sz="quarter" idx="12"/>
          </p:nvPr>
        </p:nvSpPr>
        <p:spPr>
          <a:xfrm>
            <a:off x="6457950" y="4767263"/>
            <a:ext cx="2057400" cy="274637"/>
          </a:xfrm>
          <a:prstGeom prst="rect">
            <a:avLst/>
          </a:prstGeom>
        </p:spPr>
        <p:txBody>
          <a:bodyPr/>
          <a:lstStyle/>
          <a:p>
            <a:fld id="{42772CF0-1AC0-453A-BACF-4BCDED90BFB0}" type="slidenum">
              <a:rPr lang="en-GB" smtClean="0"/>
              <a:t>‹#›</a:t>
            </a:fld>
            <a:endParaRPr lang="en-GB"/>
          </a:p>
        </p:txBody>
      </p:sp>
    </p:spTree>
    <p:extLst>
      <p:ext uri="{BB962C8B-B14F-4D97-AF65-F5344CB8AC3E}">
        <p14:creationId xmlns:p14="http://schemas.microsoft.com/office/powerpoint/2010/main" val="302655466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628650" y="4767263"/>
            <a:ext cx="2057400" cy="274637"/>
          </a:xfrm>
          <a:prstGeom prst="rect">
            <a:avLst/>
          </a:prstGeom>
        </p:spPr>
        <p:txBody>
          <a:bodyPr/>
          <a:lstStyle/>
          <a:p>
            <a:fld id="{61EEFC3E-8671-4EA3-B49C-551C8C4AFA90}" type="datetimeFigureOut">
              <a:rPr lang="en-GB" smtClean="0"/>
              <a:t>07/08/2019</a:t>
            </a:fld>
            <a:endParaRPr lang="en-GB"/>
          </a:p>
        </p:txBody>
      </p:sp>
      <p:sp>
        <p:nvSpPr>
          <p:cNvPr id="4" name="Footer Placeholder 3"/>
          <p:cNvSpPr>
            <a:spLocks noGrp="1"/>
          </p:cNvSpPr>
          <p:nvPr>
            <p:ph type="ftr" sz="quarter" idx="11"/>
          </p:nvPr>
        </p:nvSpPr>
        <p:spPr>
          <a:xfrm>
            <a:off x="3028950" y="4767263"/>
            <a:ext cx="3086100" cy="274637"/>
          </a:xfrm>
          <a:prstGeom prst="rect">
            <a:avLst/>
          </a:prstGeom>
        </p:spPr>
        <p:txBody>
          <a:bodyPr/>
          <a:lstStyle/>
          <a:p>
            <a:endParaRPr lang="en-GB"/>
          </a:p>
        </p:txBody>
      </p:sp>
      <p:sp>
        <p:nvSpPr>
          <p:cNvPr id="5" name="Slide Number Placeholder 4"/>
          <p:cNvSpPr>
            <a:spLocks noGrp="1"/>
          </p:cNvSpPr>
          <p:nvPr>
            <p:ph type="sldNum" sz="quarter" idx="12"/>
          </p:nvPr>
        </p:nvSpPr>
        <p:spPr>
          <a:xfrm>
            <a:off x="6457950" y="4767263"/>
            <a:ext cx="2057400" cy="274637"/>
          </a:xfrm>
          <a:prstGeom prst="rect">
            <a:avLst/>
          </a:prstGeom>
        </p:spPr>
        <p:txBody>
          <a:bodyPr/>
          <a:lstStyle/>
          <a:p>
            <a:fld id="{42772CF0-1AC0-453A-BACF-4BCDED90BFB0}" type="slidenum">
              <a:rPr lang="en-GB" smtClean="0"/>
              <a:t>‹#›</a:t>
            </a:fld>
            <a:endParaRPr lang="en-GB"/>
          </a:p>
        </p:txBody>
      </p:sp>
    </p:spTree>
    <p:extLst>
      <p:ext uri="{BB962C8B-B14F-4D97-AF65-F5344CB8AC3E}">
        <p14:creationId xmlns:p14="http://schemas.microsoft.com/office/powerpoint/2010/main" val="204898385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200271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17" name="think-cell Slide" r:id="rId4" imgW="423" imgH="424" progId="TCLayout.ActiveDocument.1">
                  <p:embed/>
                </p:oleObj>
              </mc:Choice>
              <mc:Fallback>
                <p:oleObj name="think-cell Slide" r:id="rId4" imgW="423"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a:xfrm>
            <a:off x="628650" y="4767263"/>
            <a:ext cx="2057400" cy="274637"/>
          </a:xfrm>
          <a:prstGeom prst="rect">
            <a:avLst/>
          </a:prstGeom>
        </p:spPr>
        <p:txBody>
          <a:bodyPr/>
          <a:lstStyle/>
          <a:p>
            <a:fld id="{61EEFC3E-8671-4EA3-B49C-551C8C4AFA90}" type="datetimeFigureOut">
              <a:rPr lang="en-GB" smtClean="0"/>
              <a:t>07/08/2019</a:t>
            </a:fld>
            <a:endParaRPr lang="en-GB"/>
          </a:p>
        </p:txBody>
      </p:sp>
      <p:sp>
        <p:nvSpPr>
          <p:cNvPr id="3" name="Footer Placeholder 2"/>
          <p:cNvSpPr>
            <a:spLocks noGrp="1"/>
          </p:cNvSpPr>
          <p:nvPr>
            <p:ph type="ftr" sz="quarter" idx="11"/>
          </p:nvPr>
        </p:nvSpPr>
        <p:spPr>
          <a:xfrm>
            <a:off x="3028950" y="4767263"/>
            <a:ext cx="3086100" cy="274637"/>
          </a:xfrm>
          <a:prstGeom prst="rect">
            <a:avLst/>
          </a:prstGeom>
        </p:spPr>
        <p:txBody>
          <a:bodyPr/>
          <a:lstStyle/>
          <a:p>
            <a:endParaRPr lang="en-GB"/>
          </a:p>
        </p:txBody>
      </p:sp>
      <p:sp>
        <p:nvSpPr>
          <p:cNvPr id="4" name="Slide Number Placeholder 3"/>
          <p:cNvSpPr>
            <a:spLocks noGrp="1"/>
          </p:cNvSpPr>
          <p:nvPr>
            <p:ph type="sldNum" sz="quarter" idx="12"/>
          </p:nvPr>
        </p:nvSpPr>
        <p:spPr>
          <a:xfrm>
            <a:off x="6457950" y="4767263"/>
            <a:ext cx="2057400" cy="274637"/>
          </a:xfrm>
          <a:prstGeom prst="rect">
            <a:avLst/>
          </a:prstGeom>
        </p:spPr>
        <p:txBody>
          <a:bodyPr/>
          <a:lstStyle/>
          <a:p>
            <a:fld id="{42772CF0-1AC0-453A-BACF-4BCDED90BFB0}" type="slidenum">
              <a:rPr lang="en-GB" smtClean="0"/>
              <a:t>‹#›</a:t>
            </a:fld>
            <a:endParaRPr lang="en-GB"/>
          </a:p>
        </p:txBody>
      </p:sp>
    </p:spTree>
    <p:extLst>
      <p:ext uri="{BB962C8B-B14F-4D97-AF65-F5344CB8AC3E}">
        <p14:creationId xmlns:p14="http://schemas.microsoft.com/office/powerpoint/2010/main" val="98930157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3887788" y="741363"/>
            <a:ext cx="4629150" cy="36544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628650" y="4767263"/>
            <a:ext cx="2057400" cy="274637"/>
          </a:xfrm>
          <a:prstGeom prst="rect">
            <a:avLst/>
          </a:prstGeom>
        </p:spPr>
        <p:txBody>
          <a:bodyPr/>
          <a:lstStyle/>
          <a:p>
            <a:fld id="{61EEFC3E-8671-4EA3-B49C-551C8C4AFA90}" type="datetimeFigureOut">
              <a:rPr lang="en-GB" smtClean="0"/>
              <a:t>07/08/2019</a:t>
            </a:fld>
            <a:endParaRPr lang="en-GB"/>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endParaRPr lang="en-GB"/>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fld id="{42772CF0-1AC0-453A-BACF-4BCDED90BFB0}" type="slidenum">
              <a:rPr lang="en-GB" smtClean="0"/>
              <a:t>‹#›</a:t>
            </a:fld>
            <a:endParaRPr lang="en-GB"/>
          </a:p>
        </p:txBody>
      </p:sp>
    </p:spTree>
    <p:extLst>
      <p:ext uri="{BB962C8B-B14F-4D97-AF65-F5344CB8AC3E}">
        <p14:creationId xmlns:p14="http://schemas.microsoft.com/office/powerpoint/2010/main" val="33544664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3887788" y="741363"/>
            <a:ext cx="4629150" cy="36544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628650" y="4767263"/>
            <a:ext cx="2057400" cy="274637"/>
          </a:xfrm>
          <a:prstGeom prst="rect">
            <a:avLst/>
          </a:prstGeom>
        </p:spPr>
        <p:txBody>
          <a:bodyPr/>
          <a:lstStyle/>
          <a:p>
            <a:fld id="{61EEFC3E-8671-4EA3-B49C-551C8C4AFA90}" type="datetimeFigureOut">
              <a:rPr lang="en-GB" smtClean="0"/>
              <a:t>07/08/2019</a:t>
            </a:fld>
            <a:endParaRPr lang="en-GB"/>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endParaRPr lang="en-GB"/>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fld id="{42772CF0-1AC0-453A-BACF-4BCDED90BFB0}" type="slidenum">
              <a:rPr lang="en-GB" smtClean="0"/>
              <a:t>‹#›</a:t>
            </a:fld>
            <a:endParaRPr lang="en-GB"/>
          </a:p>
        </p:txBody>
      </p:sp>
    </p:spTree>
    <p:extLst>
      <p:ext uri="{BB962C8B-B14F-4D97-AF65-F5344CB8AC3E}">
        <p14:creationId xmlns:p14="http://schemas.microsoft.com/office/powerpoint/2010/main" val="204802426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28650" y="1370013"/>
            <a:ext cx="7886700" cy="3262312"/>
          </a:xfrm>
          <a:prstGeom prst="rect">
            <a:avLst/>
          </a:prstGeo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28650" y="4767263"/>
            <a:ext cx="2057400" cy="274637"/>
          </a:xfrm>
          <a:prstGeom prst="rect">
            <a:avLst/>
          </a:prstGeom>
        </p:spPr>
        <p:txBody>
          <a:bodyPr/>
          <a:lstStyle/>
          <a:p>
            <a:fld id="{61EEFC3E-8671-4EA3-B49C-551C8C4AFA90}" type="datetimeFigureOut">
              <a:rPr lang="en-GB" smtClean="0"/>
              <a:t>07/08/2019</a:t>
            </a:fld>
            <a:endParaRPr lang="en-GB"/>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fld id="{42772CF0-1AC0-453A-BACF-4BCDED90BFB0}" type="slidenum">
              <a:rPr lang="en-GB" smtClean="0"/>
              <a:t>‹#›</a:t>
            </a:fld>
            <a:endParaRPr lang="en-GB"/>
          </a:p>
        </p:txBody>
      </p:sp>
    </p:spTree>
    <p:extLst>
      <p:ext uri="{BB962C8B-B14F-4D97-AF65-F5344CB8AC3E}">
        <p14:creationId xmlns:p14="http://schemas.microsoft.com/office/powerpoint/2010/main" val="231316174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4638"/>
            <a:ext cx="1971675" cy="4357687"/>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28650" y="274638"/>
            <a:ext cx="5762625" cy="4357687"/>
          </a:xfrm>
          <a:prstGeom prst="rect">
            <a:avLst/>
          </a:prstGeo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28650" y="4767263"/>
            <a:ext cx="2057400" cy="274637"/>
          </a:xfrm>
          <a:prstGeom prst="rect">
            <a:avLst/>
          </a:prstGeom>
        </p:spPr>
        <p:txBody>
          <a:bodyPr/>
          <a:lstStyle/>
          <a:p>
            <a:fld id="{61EEFC3E-8671-4EA3-B49C-551C8C4AFA90}" type="datetimeFigureOut">
              <a:rPr lang="en-GB" smtClean="0"/>
              <a:t>07/08/2019</a:t>
            </a:fld>
            <a:endParaRPr lang="en-GB"/>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fld id="{42772CF0-1AC0-453A-BACF-4BCDED90BFB0}" type="slidenum">
              <a:rPr lang="en-GB" smtClean="0"/>
              <a:t>‹#›</a:t>
            </a:fld>
            <a:endParaRPr lang="en-GB"/>
          </a:p>
        </p:txBody>
      </p:sp>
    </p:spTree>
    <p:extLst>
      <p:ext uri="{BB962C8B-B14F-4D97-AF65-F5344CB8AC3E}">
        <p14:creationId xmlns:p14="http://schemas.microsoft.com/office/powerpoint/2010/main" val="189716803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4359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626" name="think-cell Slide" r:id="rId4" imgW="423" imgH="424" progId="TCLayout.ActiveDocument.1">
                  <p:embed/>
                </p:oleObj>
              </mc:Choice>
              <mc:Fallback>
                <p:oleObj name="think-cell Slide" r:id="rId4" imgW="423" imgH="4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457200" y="931641"/>
            <a:ext cx="4038600" cy="3393579"/>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648200" y="931641"/>
            <a:ext cx="4038600" cy="3393579"/>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8229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sp>
        <p:nvSpPr>
          <p:cNvPr id="5"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7" name="Straight Connector 6"/>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ext uri="{BB962C8B-B14F-4D97-AF65-F5344CB8AC3E}">
        <p14:creationId xmlns:p14="http://schemas.microsoft.com/office/powerpoint/2010/main" val="113894357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931641"/>
            <a:ext cx="4038600" cy="3276217"/>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8229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pic>
        <p:nvPicPr>
          <p:cNvPr id="5" name="Picture 4"/>
          <p:cNvPicPr>
            <a:picLocks noChangeAspect="1"/>
          </p:cNvPicPr>
          <p:nvPr userDrawn="1"/>
        </p:nvPicPr>
        <p:blipFill>
          <a:blip r:embed="rId2"/>
          <a:stretch>
            <a:fillRect/>
          </a:stretch>
        </p:blipFill>
        <p:spPr>
          <a:xfrm>
            <a:off x="4633587" y="931641"/>
            <a:ext cx="1490419" cy="1663602"/>
          </a:xfrm>
          <a:prstGeom prst="rect">
            <a:avLst/>
          </a:prstGeom>
        </p:spPr>
      </p:pic>
      <p:pic>
        <p:nvPicPr>
          <p:cNvPr id="7" name="Picture 6"/>
          <p:cNvPicPr>
            <a:picLocks noChangeAspect="1"/>
          </p:cNvPicPr>
          <p:nvPr userDrawn="1"/>
        </p:nvPicPr>
        <p:blipFill>
          <a:blip r:embed="rId3"/>
          <a:stretch>
            <a:fillRect/>
          </a:stretch>
        </p:blipFill>
        <p:spPr>
          <a:xfrm>
            <a:off x="6285515" y="931641"/>
            <a:ext cx="1490419" cy="1663602"/>
          </a:xfrm>
          <a:prstGeom prst="rect">
            <a:avLst/>
          </a:prstGeom>
        </p:spPr>
      </p:pic>
      <p:pic>
        <p:nvPicPr>
          <p:cNvPr id="10" name="Picture 9"/>
          <p:cNvPicPr>
            <a:picLocks noChangeAspect="1"/>
          </p:cNvPicPr>
          <p:nvPr userDrawn="1"/>
        </p:nvPicPr>
        <p:blipFill>
          <a:blip r:embed="rId3"/>
          <a:stretch>
            <a:fillRect/>
          </a:stretch>
        </p:blipFill>
        <p:spPr>
          <a:xfrm>
            <a:off x="5481116" y="2375686"/>
            <a:ext cx="1490419" cy="1663602"/>
          </a:xfrm>
          <a:prstGeom prst="rect">
            <a:avLst/>
          </a:prstGeom>
        </p:spPr>
      </p:pic>
      <p:pic>
        <p:nvPicPr>
          <p:cNvPr id="11" name="Picture 10"/>
          <p:cNvPicPr>
            <a:picLocks noChangeAspect="1"/>
          </p:cNvPicPr>
          <p:nvPr userDrawn="1"/>
        </p:nvPicPr>
        <p:blipFill>
          <a:blip r:embed="rId2"/>
          <a:stretch>
            <a:fillRect/>
          </a:stretch>
        </p:blipFill>
        <p:spPr>
          <a:xfrm>
            <a:off x="7117221" y="2369053"/>
            <a:ext cx="1490419" cy="1663602"/>
          </a:xfrm>
          <a:prstGeom prst="rect">
            <a:avLst/>
          </a:prstGeom>
        </p:spPr>
      </p:pic>
      <p:sp>
        <p:nvSpPr>
          <p:cNvPr id="12"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
        <p:nvSpPr>
          <p:cNvPr id="17" name="Text Placeholder 16"/>
          <p:cNvSpPr>
            <a:spLocks noGrp="1"/>
          </p:cNvSpPr>
          <p:nvPr>
            <p:ph type="body" sz="quarter" idx="12" hasCustomPrompt="1"/>
          </p:nvPr>
        </p:nvSpPr>
        <p:spPr>
          <a:xfrm>
            <a:off x="4633588" y="122770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18" name="Text Placeholder 16"/>
          <p:cNvSpPr>
            <a:spLocks noGrp="1"/>
          </p:cNvSpPr>
          <p:nvPr>
            <p:ph type="body" sz="quarter" idx="13" hasCustomPrompt="1"/>
          </p:nvPr>
        </p:nvSpPr>
        <p:spPr>
          <a:xfrm>
            <a:off x="6285516" y="122770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19" name="Text Placeholder 16"/>
          <p:cNvSpPr>
            <a:spLocks noGrp="1"/>
          </p:cNvSpPr>
          <p:nvPr>
            <p:ph type="body" sz="quarter" idx="14" hasCustomPrompt="1"/>
          </p:nvPr>
        </p:nvSpPr>
        <p:spPr>
          <a:xfrm>
            <a:off x="7117223" y="2665802"/>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20" name="Text Placeholder 16"/>
          <p:cNvSpPr>
            <a:spLocks noGrp="1"/>
          </p:cNvSpPr>
          <p:nvPr>
            <p:ph type="body" sz="quarter" idx="15" hasCustomPrompt="1"/>
          </p:nvPr>
        </p:nvSpPr>
        <p:spPr>
          <a:xfrm>
            <a:off x="5481117" y="267243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21" name="Text Placeholder 16"/>
          <p:cNvSpPr>
            <a:spLocks noGrp="1"/>
          </p:cNvSpPr>
          <p:nvPr>
            <p:ph type="body" sz="quarter" idx="16" hasCustomPrompt="1"/>
          </p:nvPr>
        </p:nvSpPr>
        <p:spPr>
          <a:xfrm>
            <a:off x="4633588" y="1882298"/>
            <a:ext cx="1490418" cy="600669"/>
          </a:xfrm>
          <a:prstGeom prst="rect">
            <a:avLst/>
          </a:prstGeom>
        </p:spPr>
        <p:txBody>
          <a:bodyPr/>
          <a:lstStyle>
            <a:lvl1pPr marL="0" indent="0" algn="ctr">
              <a:lnSpc>
                <a:spcPct val="70000"/>
              </a:lnSpc>
              <a:buFontTx/>
              <a:buNone/>
              <a:defRPr sz="700" b="0">
                <a:solidFill>
                  <a:schemeClr val="bg1"/>
                </a:solidFill>
              </a:defRPr>
            </a:lvl1pPr>
          </a:lstStyle>
          <a:p>
            <a:pPr lvl="0"/>
            <a:r>
              <a:rPr lang="en-US" dirty="0" smtClean="0"/>
              <a:t>26% customer activity rate among</a:t>
            </a:r>
            <a:endParaRPr lang="en-US" dirty="0"/>
          </a:p>
        </p:txBody>
      </p:sp>
      <p:sp>
        <p:nvSpPr>
          <p:cNvPr id="22" name="Text Placeholder 16"/>
          <p:cNvSpPr>
            <a:spLocks noGrp="1"/>
          </p:cNvSpPr>
          <p:nvPr>
            <p:ph type="body" sz="quarter" idx="17" hasCustomPrompt="1"/>
          </p:nvPr>
        </p:nvSpPr>
        <p:spPr>
          <a:xfrm>
            <a:off x="6285515" y="1882298"/>
            <a:ext cx="1490418" cy="600669"/>
          </a:xfrm>
          <a:prstGeom prst="rect">
            <a:avLst/>
          </a:prstGeom>
        </p:spPr>
        <p:txBody>
          <a:bodyPr/>
          <a:lstStyle>
            <a:lvl1pPr marL="0" indent="0" algn="ctr">
              <a:lnSpc>
                <a:spcPct val="70000"/>
              </a:lnSpc>
              <a:buFontTx/>
              <a:buNone/>
              <a:defRPr sz="700" b="0">
                <a:solidFill>
                  <a:srgbClr val="193C6C"/>
                </a:solidFill>
              </a:defRPr>
            </a:lvl1pPr>
          </a:lstStyle>
          <a:p>
            <a:pPr lvl="0"/>
            <a:r>
              <a:rPr lang="en-US" dirty="0" smtClean="0"/>
              <a:t>26% customer activity rate among</a:t>
            </a:r>
            <a:endParaRPr lang="en-US" dirty="0"/>
          </a:p>
        </p:txBody>
      </p:sp>
      <p:sp>
        <p:nvSpPr>
          <p:cNvPr id="23" name="Text Placeholder 16"/>
          <p:cNvSpPr>
            <a:spLocks noGrp="1"/>
          </p:cNvSpPr>
          <p:nvPr>
            <p:ph type="body" sz="quarter" idx="18" hasCustomPrompt="1"/>
          </p:nvPr>
        </p:nvSpPr>
        <p:spPr>
          <a:xfrm>
            <a:off x="7109322" y="3329190"/>
            <a:ext cx="1490418" cy="546063"/>
          </a:xfrm>
          <a:prstGeom prst="rect">
            <a:avLst/>
          </a:prstGeom>
        </p:spPr>
        <p:txBody>
          <a:bodyPr/>
          <a:lstStyle>
            <a:lvl1pPr marL="0" indent="0" algn="ctr">
              <a:lnSpc>
                <a:spcPct val="70000"/>
              </a:lnSpc>
              <a:buFontTx/>
              <a:buNone/>
              <a:defRPr sz="700" b="0">
                <a:solidFill>
                  <a:schemeClr val="bg1"/>
                </a:solidFill>
              </a:defRPr>
            </a:lvl1pPr>
          </a:lstStyle>
          <a:p>
            <a:pPr lvl="0"/>
            <a:r>
              <a:rPr lang="en-US" dirty="0" smtClean="0"/>
              <a:t>26% customer activity rate among</a:t>
            </a:r>
            <a:endParaRPr lang="en-US" dirty="0"/>
          </a:p>
        </p:txBody>
      </p:sp>
      <p:sp>
        <p:nvSpPr>
          <p:cNvPr id="24" name="Text Placeholder 16"/>
          <p:cNvSpPr>
            <a:spLocks noGrp="1"/>
          </p:cNvSpPr>
          <p:nvPr>
            <p:ph type="body" sz="quarter" idx="19" hasCustomPrompt="1"/>
          </p:nvPr>
        </p:nvSpPr>
        <p:spPr>
          <a:xfrm>
            <a:off x="5489017" y="3335823"/>
            <a:ext cx="1490418" cy="546063"/>
          </a:xfrm>
          <a:prstGeom prst="rect">
            <a:avLst/>
          </a:prstGeom>
        </p:spPr>
        <p:txBody>
          <a:bodyPr/>
          <a:lstStyle>
            <a:lvl1pPr marL="0" indent="0" algn="ctr">
              <a:lnSpc>
                <a:spcPct val="70000"/>
              </a:lnSpc>
              <a:buFontTx/>
              <a:buNone/>
              <a:defRPr sz="700" b="0">
                <a:solidFill>
                  <a:srgbClr val="193C6C"/>
                </a:solidFill>
              </a:defRPr>
            </a:lvl1pPr>
          </a:lstStyle>
          <a:p>
            <a:pPr lvl="0"/>
            <a:r>
              <a:rPr lang="en-US" dirty="0" smtClean="0"/>
              <a:t>26% customer activity rate among</a:t>
            </a:r>
            <a:endParaRPr lang="en-US" dirty="0"/>
          </a:p>
        </p:txBody>
      </p:sp>
    </p:spTree>
    <p:extLst>
      <p:ext uri="{BB962C8B-B14F-4D97-AF65-F5344CB8AC3E}">
        <p14:creationId xmlns:p14="http://schemas.microsoft.com/office/powerpoint/2010/main" val="323288644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931641"/>
            <a:ext cx="4038600" cy="3276217"/>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8229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sp>
        <p:nvSpPr>
          <p:cNvPr id="12"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pic>
        <p:nvPicPr>
          <p:cNvPr id="27" name="Picture 26"/>
          <p:cNvPicPr>
            <a:picLocks noChangeAspect="1"/>
          </p:cNvPicPr>
          <p:nvPr userDrawn="1"/>
        </p:nvPicPr>
        <p:blipFill>
          <a:blip r:embed="rId2"/>
          <a:stretch>
            <a:fillRect/>
          </a:stretch>
        </p:blipFill>
        <p:spPr>
          <a:xfrm>
            <a:off x="4633587" y="931641"/>
            <a:ext cx="1490419" cy="1663602"/>
          </a:xfrm>
          <a:prstGeom prst="rect">
            <a:avLst/>
          </a:prstGeom>
        </p:spPr>
      </p:pic>
      <p:pic>
        <p:nvPicPr>
          <p:cNvPr id="28" name="Picture 27"/>
          <p:cNvPicPr>
            <a:picLocks noChangeAspect="1"/>
          </p:cNvPicPr>
          <p:nvPr userDrawn="1"/>
        </p:nvPicPr>
        <p:blipFill>
          <a:blip r:embed="rId3"/>
          <a:stretch>
            <a:fillRect/>
          </a:stretch>
        </p:blipFill>
        <p:spPr>
          <a:xfrm>
            <a:off x="6285515" y="931641"/>
            <a:ext cx="1490419" cy="1663602"/>
          </a:xfrm>
          <a:prstGeom prst="rect">
            <a:avLst/>
          </a:prstGeom>
        </p:spPr>
      </p:pic>
      <p:pic>
        <p:nvPicPr>
          <p:cNvPr id="29" name="Picture 28"/>
          <p:cNvPicPr>
            <a:picLocks noChangeAspect="1"/>
          </p:cNvPicPr>
          <p:nvPr userDrawn="1"/>
        </p:nvPicPr>
        <p:blipFill>
          <a:blip r:embed="rId3"/>
          <a:stretch>
            <a:fillRect/>
          </a:stretch>
        </p:blipFill>
        <p:spPr>
          <a:xfrm>
            <a:off x="5481116" y="2375686"/>
            <a:ext cx="1490419" cy="1663602"/>
          </a:xfrm>
          <a:prstGeom prst="rect">
            <a:avLst/>
          </a:prstGeom>
        </p:spPr>
      </p:pic>
      <p:pic>
        <p:nvPicPr>
          <p:cNvPr id="30" name="Picture 29"/>
          <p:cNvPicPr>
            <a:picLocks noChangeAspect="1"/>
          </p:cNvPicPr>
          <p:nvPr userDrawn="1"/>
        </p:nvPicPr>
        <p:blipFill>
          <a:blip r:embed="rId2"/>
          <a:stretch>
            <a:fillRect/>
          </a:stretch>
        </p:blipFill>
        <p:spPr>
          <a:xfrm>
            <a:off x="7117221" y="2369053"/>
            <a:ext cx="1490419" cy="1663602"/>
          </a:xfrm>
          <a:prstGeom prst="rect">
            <a:avLst/>
          </a:prstGeom>
        </p:spPr>
      </p:pic>
      <p:sp>
        <p:nvSpPr>
          <p:cNvPr id="31" name="Text Placeholder 16"/>
          <p:cNvSpPr>
            <a:spLocks noGrp="1"/>
          </p:cNvSpPr>
          <p:nvPr>
            <p:ph type="body" sz="quarter" idx="12" hasCustomPrompt="1"/>
          </p:nvPr>
        </p:nvSpPr>
        <p:spPr>
          <a:xfrm>
            <a:off x="4633588" y="122770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32" name="Text Placeholder 16"/>
          <p:cNvSpPr>
            <a:spLocks noGrp="1"/>
          </p:cNvSpPr>
          <p:nvPr>
            <p:ph type="body" sz="quarter" idx="13" hasCustomPrompt="1"/>
          </p:nvPr>
        </p:nvSpPr>
        <p:spPr>
          <a:xfrm>
            <a:off x="6285516" y="122770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33" name="Text Placeholder 16"/>
          <p:cNvSpPr>
            <a:spLocks noGrp="1"/>
          </p:cNvSpPr>
          <p:nvPr>
            <p:ph type="body" sz="quarter" idx="14" hasCustomPrompt="1"/>
          </p:nvPr>
        </p:nvSpPr>
        <p:spPr>
          <a:xfrm>
            <a:off x="7117223" y="2665802"/>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34" name="Text Placeholder 16"/>
          <p:cNvSpPr>
            <a:spLocks noGrp="1"/>
          </p:cNvSpPr>
          <p:nvPr>
            <p:ph type="body" sz="quarter" idx="15" hasCustomPrompt="1"/>
          </p:nvPr>
        </p:nvSpPr>
        <p:spPr>
          <a:xfrm>
            <a:off x="5481117" y="267243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35" name="Text Placeholder 16"/>
          <p:cNvSpPr>
            <a:spLocks noGrp="1"/>
          </p:cNvSpPr>
          <p:nvPr>
            <p:ph type="body" sz="quarter" idx="16" hasCustomPrompt="1"/>
          </p:nvPr>
        </p:nvSpPr>
        <p:spPr>
          <a:xfrm>
            <a:off x="4633588" y="1882298"/>
            <a:ext cx="1490418" cy="600669"/>
          </a:xfrm>
          <a:prstGeom prst="rect">
            <a:avLst/>
          </a:prstGeom>
        </p:spPr>
        <p:txBody>
          <a:bodyPr/>
          <a:lstStyle>
            <a:lvl1pPr marL="0" indent="0" algn="ctr">
              <a:lnSpc>
                <a:spcPct val="70000"/>
              </a:lnSpc>
              <a:buFontTx/>
              <a:buNone/>
              <a:defRPr sz="700" b="0">
                <a:solidFill>
                  <a:schemeClr val="bg1"/>
                </a:solidFill>
              </a:defRPr>
            </a:lvl1pPr>
          </a:lstStyle>
          <a:p>
            <a:pPr lvl="0"/>
            <a:r>
              <a:rPr lang="en-US" dirty="0" smtClean="0"/>
              <a:t>26% customer activity rate among</a:t>
            </a:r>
            <a:endParaRPr lang="en-US" dirty="0"/>
          </a:p>
        </p:txBody>
      </p:sp>
      <p:sp>
        <p:nvSpPr>
          <p:cNvPr id="36" name="Text Placeholder 16"/>
          <p:cNvSpPr>
            <a:spLocks noGrp="1"/>
          </p:cNvSpPr>
          <p:nvPr>
            <p:ph type="body" sz="quarter" idx="17" hasCustomPrompt="1"/>
          </p:nvPr>
        </p:nvSpPr>
        <p:spPr>
          <a:xfrm>
            <a:off x="6285515" y="1882298"/>
            <a:ext cx="1490418" cy="600669"/>
          </a:xfrm>
          <a:prstGeom prst="rect">
            <a:avLst/>
          </a:prstGeom>
        </p:spPr>
        <p:txBody>
          <a:bodyPr/>
          <a:lstStyle>
            <a:lvl1pPr marL="0" indent="0" algn="ctr">
              <a:lnSpc>
                <a:spcPct val="70000"/>
              </a:lnSpc>
              <a:buFontTx/>
              <a:buNone/>
              <a:defRPr sz="700" b="0">
                <a:solidFill>
                  <a:srgbClr val="193C6C"/>
                </a:solidFill>
              </a:defRPr>
            </a:lvl1pPr>
          </a:lstStyle>
          <a:p>
            <a:pPr lvl="0"/>
            <a:r>
              <a:rPr lang="en-US" dirty="0" smtClean="0"/>
              <a:t>26% customer activity rate among</a:t>
            </a:r>
            <a:endParaRPr lang="en-US" dirty="0"/>
          </a:p>
        </p:txBody>
      </p:sp>
      <p:sp>
        <p:nvSpPr>
          <p:cNvPr id="37" name="Text Placeholder 16"/>
          <p:cNvSpPr>
            <a:spLocks noGrp="1"/>
          </p:cNvSpPr>
          <p:nvPr>
            <p:ph type="body" sz="quarter" idx="18" hasCustomPrompt="1"/>
          </p:nvPr>
        </p:nvSpPr>
        <p:spPr>
          <a:xfrm>
            <a:off x="7109322" y="3329190"/>
            <a:ext cx="1490418" cy="546063"/>
          </a:xfrm>
          <a:prstGeom prst="rect">
            <a:avLst/>
          </a:prstGeom>
        </p:spPr>
        <p:txBody>
          <a:bodyPr/>
          <a:lstStyle>
            <a:lvl1pPr marL="0" indent="0" algn="ctr">
              <a:lnSpc>
                <a:spcPct val="70000"/>
              </a:lnSpc>
              <a:buFontTx/>
              <a:buNone/>
              <a:defRPr sz="700" b="0">
                <a:solidFill>
                  <a:schemeClr val="bg1"/>
                </a:solidFill>
              </a:defRPr>
            </a:lvl1pPr>
          </a:lstStyle>
          <a:p>
            <a:pPr lvl="0"/>
            <a:r>
              <a:rPr lang="en-US" dirty="0" smtClean="0"/>
              <a:t>26% customer activity rate among</a:t>
            </a:r>
            <a:endParaRPr lang="en-US" dirty="0"/>
          </a:p>
        </p:txBody>
      </p:sp>
      <p:sp>
        <p:nvSpPr>
          <p:cNvPr id="38" name="Text Placeholder 16"/>
          <p:cNvSpPr>
            <a:spLocks noGrp="1"/>
          </p:cNvSpPr>
          <p:nvPr>
            <p:ph type="body" sz="quarter" idx="19" hasCustomPrompt="1"/>
          </p:nvPr>
        </p:nvSpPr>
        <p:spPr>
          <a:xfrm>
            <a:off x="5489017" y="3335823"/>
            <a:ext cx="1490418" cy="546063"/>
          </a:xfrm>
          <a:prstGeom prst="rect">
            <a:avLst/>
          </a:prstGeom>
        </p:spPr>
        <p:txBody>
          <a:bodyPr/>
          <a:lstStyle>
            <a:lvl1pPr marL="0" indent="0" algn="ctr">
              <a:lnSpc>
                <a:spcPct val="70000"/>
              </a:lnSpc>
              <a:buFontTx/>
              <a:buNone/>
              <a:defRPr sz="700" b="0">
                <a:solidFill>
                  <a:srgbClr val="193C6C"/>
                </a:solidFill>
              </a:defRPr>
            </a:lvl1pPr>
          </a:lstStyle>
          <a:p>
            <a:pPr lvl="0"/>
            <a:r>
              <a:rPr lang="en-US" dirty="0" smtClean="0"/>
              <a:t>26% customer activity rate among</a:t>
            </a:r>
            <a:endParaRPr lang="en-US" dirty="0"/>
          </a:p>
        </p:txBody>
      </p:sp>
    </p:spTree>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a:xfrm>
            <a:off x="4735102" y="-618"/>
            <a:ext cx="4408897" cy="4905993"/>
          </a:xfrm>
          <a:custGeom>
            <a:avLst/>
            <a:gdLst>
              <a:gd name="connsiteX0" fmla="*/ 0 w 4391025"/>
              <a:gd name="connsiteY0" fmla="*/ 0 h 4905375"/>
              <a:gd name="connsiteX1" fmla="*/ 4391025 w 4391025"/>
              <a:gd name="connsiteY1" fmla="*/ 0 h 4905375"/>
              <a:gd name="connsiteX2" fmla="*/ 4391025 w 4391025"/>
              <a:gd name="connsiteY2" fmla="*/ 4905375 h 4905375"/>
              <a:gd name="connsiteX3" fmla="*/ 0 w 4391025"/>
              <a:gd name="connsiteY3" fmla="*/ 4905375 h 4905375"/>
              <a:gd name="connsiteX4" fmla="*/ 0 w 4391025"/>
              <a:gd name="connsiteY4" fmla="*/ 0 h 4905375"/>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906162 w 4391025"/>
              <a:gd name="connsiteY4"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809625 w 4391025"/>
              <a:gd name="connsiteY4" fmla="*/ 54163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687705 w 4391025"/>
              <a:gd name="connsiteY4" fmla="*/ 32827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432435 w 4391025"/>
              <a:gd name="connsiteY4" fmla="*/ 19970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32385 w 4391025"/>
              <a:gd name="connsiteY4" fmla="*/ 25685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7145 w 4391025"/>
              <a:gd name="connsiteY4" fmla="*/ 3475338 h 4913613"/>
              <a:gd name="connsiteX5" fmla="*/ 32385 w 4391025"/>
              <a:gd name="connsiteY5" fmla="*/ 2568558 h 4913613"/>
              <a:gd name="connsiteX6" fmla="*/ 687705 w 4391025"/>
              <a:gd name="connsiteY6" fmla="*/ 328278 h 4913613"/>
              <a:gd name="connsiteX7" fmla="*/ 906162 w 4391025"/>
              <a:gd name="connsiteY7"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27635 w 4391025"/>
              <a:gd name="connsiteY4" fmla="*/ 3220068 h 4913613"/>
              <a:gd name="connsiteX5" fmla="*/ 32385 w 4391025"/>
              <a:gd name="connsiteY5" fmla="*/ 2568558 h 4913613"/>
              <a:gd name="connsiteX6" fmla="*/ 687705 w 4391025"/>
              <a:gd name="connsiteY6" fmla="*/ 328278 h 4913613"/>
              <a:gd name="connsiteX7" fmla="*/ 906162 w 4391025"/>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5250 w 4358640"/>
              <a:gd name="connsiteY4" fmla="*/ 3220068 h 4913613"/>
              <a:gd name="connsiteX5" fmla="*/ 0 w 4358640"/>
              <a:gd name="connsiteY5" fmla="*/ 2568558 h 4913613"/>
              <a:gd name="connsiteX6" fmla="*/ 655320 w 4358640"/>
              <a:gd name="connsiteY6" fmla="*/ 328278 h 4913613"/>
              <a:gd name="connsiteX7" fmla="*/ 873777 w 4358640"/>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1440 w 4358640"/>
              <a:gd name="connsiteY4" fmla="*/ 3204828 h 4913613"/>
              <a:gd name="connsiteX5" fmla="*/ 0 w 4358640"/>
              <a:gd name="connsiteY5" fmla="*/ 2568558 h 4913613"/>
              <a:gd name="connsiteX6" fmla="*/ 655320 w 4358640"/>
              <a:gd name="connsiteY6" fmla="*/ 328278 h 4913613"/>
              <a:gd name="connsiteX7" fmla="*/ 873777 w 4358640"/>
              <a:gd name="connsiteY7" fmla="*/ 0 h 4913613"/>
              <a:gd name="connsiteX0" fmla="*/ 881147 w 4366010"/>
              <a:gd name="connsiteY0" fmla="*/ 0 h 4913613"/>
              <a:gd name="connsiteX1" fmla="*/ 4366010 w 4366010"/>
              <a:gd name="connsiteY1" fmla="*/ 8238 h 4913613"/>
              <a:gd name="connsiteX2" fmla="*/ 4366010 w 4366010"/>
              <a:gd name="connsiteY2" fmla="*/ 4913613 h 4913613"/>
              <a:gd name="connsiteX3" fmla="*/ 1617095 w 4366010"/>
              <a:gd name="connsiteY3" fmla="*/ 4780263 h 4913613"/>
              <a:gd name="connsiteX4" fmla="*/ 98810 w 4366010"/>
              <a:gd name="connsiteY4" fmla="*/ 3204828 h 4913613"/>
              <a:gd name="connsiteX5" fmla="*/ 7370 w 4366010"/>
              <a:gd name="connsiteY5" fmla="*/ 2568558 h 4913613"/>
              <a:gd name="connsiteX6" fmla="*/ 662690 w 4366010"/>
              <a:gd name="connsiteY6" fmla="*/ 328278 h 4913613"/>
              <a:gd name="connsiteX7" fmla="*/ 881147 w 4366010"/>
              <a:gd name="connsiteY7" fmla="*/ 0 h 4913613"/>
              <a:gd name="connsiteX0" fmla="*/ 915784 w 4400647"/>
              <a:gd name="connsiteY0" fmla="*/ 0 h 4913613"/>
              <a:gd name="connsiteX1" fmla="*/ 4400647 w 4400647"/>
              <a:gd name="connsiteY1" fmla="*/ 8238 h 4913613"/>
              <a:gd name="connsiteX2" fmla="*/ 4400647 w 4400647"/>
              <a:gd name="connsiteY2" fmla="*/ 4913613 h 4913613"/>
              <a:gd name="connsiteX3" fmla="*/ 1651732 w 4400647"/>
              <a:gd name="connsiteY3" fmla="*/ 4780263 h 4913613"/>
              <a:gd name="connsiteX4" fmla="*/ 133447 w 4400647"/>
              <a:gd name="connsiteY4" fmla="*/ 3204828 h 4913613"/>
              <a:gd name="connsiteX5" fmla="*/ 42007 w 4400647"/>
              <a:gd name="connsiteY5" fmla="*/ 2568558 h 4913613"/>
              <a:gd name="connsiteX6" fmla="*/ 697327 w 4400647"/>
              <a:gd name="connsiteY6" fmla="*/ 328278 h 4913613"/>
              <a:gd name="connsiteX7" fmla="*/ 915784 w 4400647"/>
              <a:gd name="connsiteY7" fmla="*/ 0 h 491361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28216 w 4397839"/>
              <a:gd name="connsiteY0" fmla="*/ 0 h 4905993"/>
              <a:gd name="connsiteX1" fmla="*/ 4397839 w 4397839"/>
              <a:gd name="connsiteY1" fmla="*/ 618 h 4905993"/>
              <a:gd name="connsiteX2" fmla="*/ 4397839 w 4397839"/>
              <a:gd name="connsiteY2" fmla="*/ 4905993 h 4905993"/>
              <a:gd name="connsiteX3" fmla="*/ 1648924 w 4397839"/>
              <a:gd name="connsiteY3" fmla="*/ 4772643 h 4905993"/>
              <a:gd name="connsiteX4" fmla="*/ 138259 w 4397839"/>
              <a:gd name="connsiteY4" fmla="*/ 3208638 h 4905993"/>
              <a:gd name="connsiteX5" fmla="*/ 39199 w 4397839"/>
              <a:gd name="connsiteY5" fmla="*/ 2560938 h 4905993"/>
              <a:gd name="connsiteX6" fmla="*/ 694519 w 4397839"/>
              <a:gd name="connsiteY6" fmla="*/ 320658 h 4905993"/>
              <a:gd name="connsiteX7" fmla="*/ 928216 w 4397839"/>
              <a:gd name="connsiteY7" fmla="*/ 0 h 4905993"/>
              <a:gd name="connsiteX0" fmla="*/ 931629 w 4401252"/>
              <a:gd name="connsiteY0" fmla="*/ 0 h 4905993"/>
              <a:gd name="connsiteX1" fmla="*/ 4401252 w 4401252"/>
              <a:gd name="connsiteY1" fmla="*/ 618 h 4905993"/>
              <a:gd name="connsiteX2" fmla="*/ 4401252 w 4401252"/>
              <a:gd name="connsiteY2" fmla="*/ 4905993 h 4905993"/>
              <a:gd name="connsiteX3" fmla="*/ 1652337 w 4401252"/>
              <a:gd name="connsiteY3" fmla="*/ 4772643 h 4905993"/>
              <a:gd name="connsiteX4" fmla="*/ 141672 w 4401252"/>
              <a:gd name="connsiteY4" fmla="*/ 3208638 h 4905993"/>
              <a:gd name="connsiteX5" fmla="*/ 42612 w 4401252"/>
              <a:gd name="connsiteY5" fmla="*/ 2560938 h 4905993"/>
              <a:gd name="connsiteX6" fmla="*/ 697932 w 4401252"/>
              <a:gd name="connsiteY6" fmla="*/ 320658 h 4905993"/>
              <a:gd name="connsiteX7" fmla="*/ 931629 w 4401252"/>
              <a:gd name="connsiteY7" fmla="*/ 0 h 4905993"/>
              <a:gd name="connsiteX0" fmla="*/ 937706 w 4407329"/>
              <a:gd name="connsiteY0" fmla="*/ 0 h 4905993"/>
              <a:gd name="connsiteX1" fmla="*/ 4407329 w 4407329"/>
              <a:gd name="connsiteY1" fmla="*/ 618 h 4905993"/>
              <a:gd name="connsiteX2" fmla="*/ 4407329 w 4407329"/>
              <a:gd name="connsiteY2" fmla="*/ 4905993 h 4905993"/>
              <a:gd name="connsiteX3" fmla="*/ 1658414 w 4407329"/>
              <a:gd name="connsiteY3" fmla="*/ 4772643 h 4905993"/>
              <a:gd name="connsiteX4" fmla="*/ 147749 w 4407329"/>
              <a:gd name="connsiteY4" fmla="*/ 3208638 h 4905993"/>
              <a:gd name="connsiteX5" fmla="*/ 48689 w 4407329"/>
              <a:gd name="connsiteY5" fmla="*/ 2560938 h 4905993"/>
              <a:gd name="connsiteX6" fmla="*/ 704009 w 4407329"/>
              <a:gd name="connsiteY6" fmla="*/ 320658 h 4905993"/>
              <a:gd name="connsiteX7" fmla="*/ 937706 w 4407329"/>
              <a:gd name="connsiteY7" fmla="*/ 0 h 4905993"/>
              <a:gd name="connsiteX0" fmla="*/ 939274 w 4408897"/>
              <a:gd name="connsiteY0" fmla="*/ 0 h 4905993"/>
              <a:gd name="connsiteX1" fmla="*/ 4408897 w 4408897"/>
              <a:gd name="connsiteY1" fmla="*/ 618 h 4905993"/>
              <a:gd name="connsiteX2" fmla="*/ 4408897 w 4408897"/>
              <a:gd name="connsiteY2" fmla="*/ 4905993 h 4905993"/>
              <a:gd name="connsiteX3" fmla="*/ 1659982 w 4408897"/>
              <a:gd name="connsiteY3" fmla="*/ 4772643 h 4905993"/>
              <a:gd name="connsiteX4" fmla="*/ 149317 w 4408897"/>
              <a:gd name="connsiteY4" fmla="*/ 3208638 h 4905993"/>
              <a:gd name="connsiteX5" fmla="*/ 50257 w 4408897"/>
              <a:gd name="connsiteY5" fmla="*/ 2560938 h 4905993"/>
              <a:gd name="connsiteX6" fmla="*/ 705577 w 4408897"/>
              <a:gd name="connsiteY6" fmla="*/ 320658 h 4905993"/>
              <a:gd name="connsiteX7" fmla="*/ 939274 w 4408897"/>
              <a:gd name="connsiteY7" fmla="*/ 0 h 490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8897" h="4905993">
                <a:moveTo>
                  <a:pt x="939274" y="0"/>
                </a:moveTo>
                <a:lnTo>
                  <a:pt x="4408897" y="618"/>
                </a:lnTo>
                <a:lnTo>
                  <a:pt x="4408897" y="4905993"/>
                </a:lnTo>
                <a:lnTo>
                  <a:pt x="1659982" y="4772643"/>
                </a:lnTo>
                <a:lnTo>
                  <a:pt x="149317" y="3208638"/>
                </a:lnTo>
                <a:cubicBezTo>
                  <a:pt x="-52613" y="2977498"/>
                  <a:pt x="-10703" y="2757788"/>
                  <a:pt x="50257" y="2560938"/>
                </a:cubicBezTo>
                <a:lnTo>
                  <a:pt x="705577" y="320658"/>
                </a:lnTo>
                <a:cubicBezTo>
                  <a:pt x="752996" y="183292"/>
                  <a:pt x="823275" y="91646"/>
                  <a:pt x="939274" y="0"/>
                </a:cubicBezTo>
                <a:close/>
              </a:path>
            </a:pathLst>
          </a:custGeom>
        </p:spPr>
        <p:txBody>
          <a:bodyPr anchor="ctr"/>
          <a:lstStyle>
            <a:lvl1pPr algn="ctr">
              <a:defRPr/>
            </a:lvl1pPr>
          </a:lstStyle>
          <a:p>
            <a:endParaRPr lang="en-US" dirty="0"/>
          </a:p>
        </p:txBody>
      </p:sp>
      <p:sp>
        <p:nvSpPr>
          <p:cNvPr id="3" name="Content Placeholder 2"/>
          <p:cNvSpPr>
            <a:spLocks noGrp="1"/>
          </p:cNvSpPr>
          <p:nvPr>
            <p:ph sz="half" idx="1"/>
          </p:nvPr>
        </p:nvSpPr>
        <p:spPr>
          <a:xfrm>
            <a:off x="457200" y="931641"/>
            <a:ext cx="4038600" cy="3276217"/>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4038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pic>
        <p:nvPicPr>
          <p:cNvPr id="16" name="Picture 15"/>
          <p:cNvPicPr>
            <a:picLocks noChangeAspect="1"/>
          </p:cNvPicPr>
          <p:nvPr userDrawn="1"/>
        </p:nvPicPr>
        <p:blipFill>
          <a:blip r:embed="rId2"/>
          <a:stretch>
            <a:fillRect/>
          </a:stretch>
        </p:blipFill>
        <p:spPr>
          <a:xfrm>
            <a:off x="5874818" y="4276166"/>
            <a:ext cx="3269181" cy="867334"/>
          </a:xfrm>
          <a:prstGeom prst="rect">
            <a:avLst/>
          </a:prstGeom>
        </p:spPr>
      </p:pic>
      <p:sp>
        <p:nvSpPr>
          <p:cNvPr id="17"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spTree>
    <p:extLst>
      <p:ext uri="{BB962C8B-B14F-4D97-AF65-F5344CB8AC3E}">
        <p14:creationId xmlns:p14="http://schemas.microsoft.com/office/powerpoint/2010/main" val="1324518402"/>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3594537" y="1366081"/>
            <a:ext cx="4595647" cy="3142844"/>
          </a:xfrm>
          <a:prstGeom prst="rect">
            <a:avLst/>
          </a:prstGeom>
        </p:spPr>
        <p:txBody>
          <a:bodyPr vert="horz" lIns="91440" tIns="45720" rIns="91440" bIns="45720" rtlCol="0">
            <a:noAutofit/>
          </a:bodyPr>
          <a:lstStyle>
            <a:lvl1pPr marL="0" indent="0">
              <a:buNone/>
              <a:defRPr sz="900" baseline="0">
                <a:solidFill>
                  <a:schemeClr val="tx1"/>
                </a:solidFill>
              </a:defRPr>
            </a:lvl1pPr>
          </a:lstStyle>
          <a:p>
            <a:pPr lvl="0"/>
            <a:r>
              <a:rPr lang="en-JM" dirty="0"/>
              <a:t>Click to insert content</a:t>
            </a:r>
          </a:p>
        </p:txBody>
      </p:sp>
      <p:sp>
        <p:nvSpPr>
          <p:cNvPr id="8" name="Title Placeholder 1"/>
          <p:cNvSpPr>
            <a:spLocks noGrp="1"/>
          </p:cNvSpPr>
          <p:nvPr>
            <p:ph type="title"/>
          </p:nvPr>
        </p:nvSpPr>
        <p:spPr>
          <a:xfrm>
            <a:off x="3594537" y="864630"/>
            <a:ext cx="4595647" cy="432049"/>
          </a:xfrm>
          <a:prstGeom prst="rect">
            <a:avLst/>
          </a:prstGeom>
        </p:spPr>
        <p:txBody>
          <a:bodyPr vert="horz" lIns="91440" tIns="45720" rIns="91440" bIns="45720" rtlCol="0" anchor="t" anchorCtr="0">
            <a:normAutofit/>
          </a:bodyPr>
          <a:lstStyle>
            <a:lvl1pPr>
              <a:defRPr sz="2000">
                <a:solidFill>
                  <a:srgbClr val="00ACD4"/>
                </a:solidFill>
              </a:defRPr>
            </a:lvl1pPr>
          </a:lstStyle>
          <a:p>
            <a:r>
              <a:rPr lang="en-US" dirty="0"/>
              <a:t>Click to edit Master title style</a:t>
            </a:r>
            <a:endParaRPr lang="en-JM" dirty="0"/>
          </a:p>
        </p:txBody>
      </p:sp>
      <p:sp>
        <p:nvSpPr>
          <p:cNvPr id="13" name="Picture Placeholder 12"/>
          <p:cNvSpPr>
            <a:spLocks noGrp="1"/>
          </p:cNvSpPr>
          <p:nvPr>
            <p:ph type="pic" sz="quarter" idx="10"/>
          </p:nvPr>
        </p:nvSpPr>
        <p:spPr>
          <a:xfrm>
            <a:off x="-2796" y="-2604"/>
            <a:ext cx="3362588" cy="5149790"/>
          </a:xfrm>
          <a:custGeom>
            <a:avLst/>
            <a:gdLst>
              <a:gd name="connsiteX0" fmla="*/ 0 w 3359150"/>
              <a:gd name="connsiteY0" fmla="*/ 425100 h 5143500"/>
              <a:gd name="connsiteX1" fmla="*/ 425100 w 3359150"/>
              <a:gd name="connsiteY1" fmla="*/ 0 h 5143500"/>
              <a:gd name="connsiteX2" fmla="*/ 2934050 w 3359150"/>
              <a:gd name="connsiteY2" fmla="*/ 0 h 5143500"/>
              <a:gd name="connsiteX3" fmla="*/ 3359150 w 3359150"/>
              <a:gd name="connsiteY3" fmla="*/ 42510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2934050 w 3359150"/>
              <a:gd name="connsiteY2" fmla="*/ 0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1917015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3261309 w 3686409"/>
              <a:gd name="connsiteY5" fmla="*/ 5143500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2462412 w 3686409"/>
              <a:gd name="connsiteY5" fmla="*/ 4719988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67333"/>
              <a:gd name="connsiteY0" fmla="*/ 425100 h 5143500"/>
              <a:gd name="connsiteX1" fmla="*/ 2244274 w 3667333"/>
              <a:gd name="connsiteY1" fmla="*/ 0 h 5143500"/>
              <a:gd name="connsiteX2" fmla="*/ 3509121 w 3667333"/>
              <a:gd name="connsiteY2" fmla="*/ 1358598 h 5143500"/>
              <a:gd name="connsiteX3" fmla="*/ 3647908 w 3667333"/>
              <a:gd name="connsiteY3" fmla="*/ 2071020 h 5143500"/>
              <a:gd name="connsiteX4" fmla="*/ 3031891 w 3667333"/>
              <a:gd name="connsiteY4" fmla="*/ 4217886 h 5143500"/>
              <a:gd name="connsiteX5" fmla="*/ 2462412 w 3667333"/>
              <a:gd name="connsiteY5" fmla="*/ 4719988 h 5143500"/>
              <a:gd name="connsiteX6" fmla="*/ 752359 w 3667333"/>
              <a:gd name="connsiteY6" fmla="*/ 5143500 h 5143500"/>
              <a:gd name="connsiteX7" fmla="*/ 0 w 3667333"/>
              <a:gd name="connsiteY7" fmla="*/ 3447865 h 5143500"/>
              <a:gd name="connsiteX8" fmla="*/ 327259 w 3667333"/>
              <a:gd name="connsiteY8" fmla="*/ 425100 h 5143500"/>
              <a:gd name="connsiteX0" fmla="*/ 327259 w 3691611"/>
              <a:gd name="connsiteY0" fmla="*/ 425100 h 5143500"/>
              <a:gd name="connsiteX1" fmla="*/ 2244274 w 3691611"/>
              <a:gd name="connsiteY1" fmla="*/ 0 h 5143500"/>
              <a:gd name="connsiteX2" fmla="*/ 3509121 w 3691611"/>
              <a:gd name="connsiteY2" fmla="*/ 1358598 h 5143500"/>
              <a:gd name="connsiteX3" fmla="*/ 3647908 w 3691611"/>
              <a:gd name="connsiteY3" fmla="*/ 2071020 h 5143500"/>
              <a:gd name="connsiteX4" fmla="*/ 3031891 w 3691611"/>
              <a:gd name="connsiteY4" fmla="*/ 4217886 h 5143500"/>
              <a:gd name="connsiteX5" fmla="*/ 2462412 w 3691611"/>
              <a:gd name="connsiteY5" fmla="*/ 4719988 h 5143500"/>
              <a:gd name="connsiteX6" fmla="*/ 752359 w 3691611"/>
              <a:gd name="connsiteY6" fmla="*/ 5143500 h 5143500"/>
              <a:gd name="connsiteX7" fmla="*/ 0 w 3691611"/>
              <a:gd name="connsiteY7" fmla="*/ 3447865 h 5143500"/>
              <a:gd name="connsiteX8" fmla="*/ 327259 w 3691611"/>
              <a:gd name="connsiteY8" fmla="*/ 425100 h 5143500"/>
              <a:gd name="connsiteX0" fmla="*/ 327259 w 3686530"/>
              <a:gd name="connsiteY0" fmla="*/ 425100 h 5143500"/>
              <a:gd name="connsiteX1" fmla="*/ 2244274 w 3686530"/>
              <a:gd name="connsiteY1" fmla="*/ 0 h 5143500"/>
              <a:gd name="connsiteX2" fmla="*/ 3509121 w 3686530"/>
              <a:gd name="connsiteY2" fmla="*/ 1358598 h 5143500"/>
              <a:gd name="connsiteX3" fmla="*/ 3636847 w 3686530"/>
              <a:gd name="connsiteY3" fmla="*/ 2096830 h 5143500"/>
              <a:gd name="connsiteX4" fmla="*/ 3031891 w 3686530"/>
              <a:gd name="connsiteY4" fmla="*/ 4217886 h 5143500"/>
              <a:gd name="connsiteX5" fmla="*/ 2462412 w 3686530"/>
              <a:gd name="connsiteY5" fmla="*/ 4719988 h 5143500"/>
              <a:gd name="connsiteX6" fmla="*/ 752359 w 3686530"/>
              <a:gd name="connsiteY6" fmla="*/ 5143500 h 5143500"/>
              <a:gd name="connsiteX7" fmla="*/ 0 w 3686530"/>
              <a:gd name="connsiteY7" fmla="*/ 3447865 h 5143500"/>
              <a:gd name="connsiteX8" fmla="*/ 327259 w 3686530"/>
              <a:gd name="connsiteY8" fmla="*/ 425100 h 5143500"/>
              <a:gd name="connsiteX0" fmla="*/ 327259 w 3703888"/>
              <a:gd name="connsiteY0" fmla="*/ 425100 h 5143500"/>
              <a:gd name="connsiteX1" fmla="*/ 2244274 w 3703888"/>
              <a:gd name="connsiteY1" fmla="*/ 0 h 5143500"/>
              <a:gd name="connsiteX2" fmla="*/ 3509121 w 3703888"/>
              <a:gd name="connsiteY2" fmla="*/ 1358598 h 5143500"/>
              <a:gd name="connsiteX3" fmla="*/ 3636847 w 3703888"/>
              <a:gd name="connsiteY3" fmla="*/ 2096830 h 5143500"/>
              <a:gd name="connsiteX4" fmla="*/ 3031891 w 3703888"/>
              <a:gd name="connsiteY4" fmla="*/ 4217886 h 5143500"/>
              <a:gd name="connsiteX5" fmla="*/ 2462412 w 3703888"/>
              <a:gd name="connsiteY5" fmla="*/ 4719988 h 5143500"/>
              <a:gd name="connsiteX6" fmla="*/ 752359 w 3703888"/>
              <a:gd name="connsiteY6" fmla="*/ 5143500 h 5143500"/>
              <a:gd name="connsiteX7" fmla="*/ 0 w 3703888"/>
              <a:gd name="connsiteY7" fmla="*/ 3447865 h 5143500"/>
              <a:gd name="connsiteX8" fmla="*/ 327259 w 3703888"/>
              <a:gd name="connsiteY8" fmla="*/ 425100 h 5143500"/>
              <a:gd name="connsiteX0" fmla="*/ 327259 w 3682668"/>
              <a:gd name="connsiteY0" fmla="*/ 425100 h 5143500"/>
              <a:gd name="connsiteX1" fmla="*/ 2244274 w 3682668"/>
              <a:gd name="connsiteY1" fmla="*/ 0 h 5143500"/>
              <a:gd name="connsiteX2" fmla="*/ 3461189 w 3682668"/>
              <a:gd name="connsiteY2" fmla="*/ 1310666 h 5143500"/>
              <a:gd name="connsiteX3" fmla="*/ 3636847 w 3682668"/>
              <a:gd name="connsiteY3" fmla="*/ 2096830 h 5143500"/>
              <a:gd name="connsiteX4" fmla="*/ 3031891 w 3682668"/>
              <a:gd name="connsiteY4" fmla="*/ 4217886 h 5143500"/>
              <a:gd name="connsiteX5" fmla="*/ 2462412 w 3682668"/>
              <a:gd name="connsiteY5" fmla="*/ 4719988 h 5143500"/>
              <a:gd name="connsiteX6" fmla="*/ 752359 w 3682668"/>
              <a:gd name="connsiteY6" fmla="*/ 5143500 h 5143500"/>
              <a:gd name="connsiteX7" fmla="*/ 0 w 3682668"/>
              <a:gd name="connsiteY7" fmla="*/ 3447865 h 5143500"/>
              <a:gd name="connsiteX8" fmla="*/ 327259 w 3682668"/>
              <a:gd name="connsiteY8" fmla="*/ 425100 h 5143500"/>
              <a:gd name="connsiteX0" fmla="*/ 327259 w 3693650"/>
              <a:gd name="connsiteY0" fmla="*/ 425100 h 5143500"/>
              <a:gd name="connsiteX1" fmla="*/ 2244274 w 3693650"/>
              <a:gd name="connsiteY1" fmla="*/ 0 h 5143500"/>
              <a:gd name="connsiteX2" fmla="*/ 3461189 w 3693650"/>
              <a:gd name="connsiteY2" fmla="*/ 1310666 h 5143500"/>
              <a:gd name="connsiteX3" fmla="*/ 3636847 w 3693650"/>
              <a:gd name="connsiteY3" fmla="*/ 2096830 h 5143500"/>
              <a:gd name="connsiteX4" fmla="*/ 3031891 w 3693650"/>
              <a:gd name="connsiteY4" fmla="*/ 4217886 h 5143500"/>
              <a:gd name="connsiteX5" fmla="*/ 2462412 w 3693650"/>
              <a:gd name="connsiteY5" fmla="*/ 4719988 h 5143500"/>
              <a:gd name="connsiteX6" fmla="*/ 752359 w 3693650"/>
              <a:gd name="connsiteY6" fmla="*/ 5143500 h 5143500"/>
              <a:gd name="connsiteX7" fmla="*/ 0 w 3693650"/>
              <a:gd name="connsiteY7" fmla="*/ 3447865 h 5143500"/>
              <a:gd name="connsiteX8" fmla="*/ 327259 w 3693650"/>
              <a:gd name="connsiteY8" fmla="*/ 425100 h 5143500"/>
              <a:gd name="connsiteX0" fmla="*/ 327259 w 3688927"/>
              <a:gd name="connsiteY0" fmla="*/ 425100 h 5143500"/>
              <a:gd name="connsiteX1" fmla="*/ 2244274 w 3688927"/>
              <a:gd name="connsiteY1" fmla="*/ 0 h 5143500"/>
              <a:gd name="connsiteX2" fmla="*/ 3461189 w 3688927"/>
              <a:gd name="connsiteY2" fmla="*/ 1310666 h 5143500"/>
              <a:gd name="connsiteX3" fmla="*/ 3636847 w 3688927"/>
              <a:gd name="connsiteY3" fmla="*/ 2096830 h 5143500"/>
              <a:gd name="connsiteX4" fmla="*/ 3031891 w 3688927"/>
              <a:gd name="connsiteY4" fmla="*/ 4217886 h 5143500"/>
              <a:gd name="connsiteX5" fmla="*/ 2462412 w 3688927"/>
              <a:gd name="connsiteY5" fmla="*/ 4719988 h 5143500"/>
              <a:gd name="connsiteX6" fmla="*/ 752359 w 3688927"/>
              <a:gd name="connsiteY6" fmla="*/ 5143500 h 5143500"/>
              <a:gd name="connsiteX7" fmla="*/ 0 w 3688927"/>
              <a:gd name="connsiteY7" fmla="*/ 3447865 h 5143500"/>
              <a:gd name="connsiteX8" fmla="*/ 327259 w 3688927"/>
              <a:gd name="connsiteY8" fmla="*/ 425100 h 5143500"/>
              <a:gd name="connsiteX0" fmla="*/ 327259 w 3693208"/>
              <a:gd name="connsiteY0" fmla="*/ 425100 h 5143500"/>
              <a:gd name="connsiteX1" fmla="*/ 2244274 w 3693208"/>
              <a:gd name="connsiteY1" fmla="*/ 0 h 5143500"/>
              <a:gd name="connsiteX2" fmla="*/ 3472251 w 3693208"/>
              <a:gd name="connsiteY2" fmla="*/ 1318040 h 5143500"/>
              <a:gd name="connsiteX3" fmla="*/ 3636847 w 3693208"/>
              <a:gd name="connsiteY3" fmla="*/ 2096830 h 5143500"/>
              <a:gd name="connsiteX4" fmla="*/ 3031891 w 3693208"/>
              <a:gd name="connsiteY4" fmla="*/ 4217886 h 5143500"/>
              <a:gd name="connsiteX5" fmla="*/ 2462412 w 3693208"/>
              <a:gd name="connsiteY5" fmla="*/ 4719988 h 5143500"/>
              <a:gd name="connsiteX6" fmla="*/ 752359 w 3693208"/>
              <a:gd name="connsiteY6" fmla="*/ 5143500 h 5143500"/>
              <a:gd name="connsiteX7" fmla="*/ 0 w 3693208"/>
              <a:gd name="connsiteY7" fmla="*/ 3447865 h 5143500"/>
              <a:gd name="connsiteX8" fmla="*/ 327259 w 3693208"/>
              <a:gd name="connsiteY8" fmla="*/ 425100 h 5143500"/>
              <a:gd name="connsiteX0" fmla="*/ 327259 w 3689737"/>
              <a:gd name="connsiteY0" fmla="*/ 425100 h 5143500"/>
              <a:gd name="connsiteX1" fmla="*/ 2244274 w 3689737"/>
              <a:gd name="connsiteY1" fmla="*/ 0 h 5143500"/>
              <a:gd name="connsiteX2" fmla="*/ 3472251 w 3689737"/>
              <a:gd name="connsiteY2" fmla="*/ 1318040 h 5143500"/>
              <a:gd name="connsiteX3" fmla="*/ 3636847 w 3689737"/>
              <a:gd name="connsiteY3" fmla="*/ 2096830 h 5143500"/>
              <a:gd name="connsiteX4" fmla="*/ 3031891 w 3689737"/>
              <a:gd name="connsiteY4" fmla="*/ 4217886 h 5143500"/>
              <a:gd name="connsiteX5" fmla="*/ 2462412 w 3689737"/>
              <a:gd name="connsiteY5" fmla="*/ 4719988 h 5143500"/>
              <a:gd name="connsiteX6" fmla="*/ 752359 w 3689737"/>
              <a:gd name="connsiteY6" fmla="*/ 5143500 h 5143500"/>
              <a:gd name="connsiteX7" fmla="*/ 0 w 3689737"/>
              <a:gd name="connsiteY7" fmla="*/ 3447865 h 5143500"/>
              <a:gd name="connsiteX8" fmla="*/ 327259 w 3689737"/>
              <a:gd name="connsiteY8" fmla="*/ 425100 h 5143500"/>
              <a:gd name="connsiteX0" fmla="*/ 327259 w 3692863"/>
              <a:gd name="connsiteY0" fmla="*/ 425100 h 5143500"/>
              <a:gd name="connsiteX1" fmla="*/ 2244274 w 3692863"/>
              <a:gd name="connsiteY1" fmla="*/ 0 h 5143500"/>
              <a:gd name="connsiteX2" fmla="*/ 3472251 w 3692863"/>
              <a:gd name="connsiteY2" fmla="*/ 1318040 h 5143500"/>
              <a:gd name="connsiteX3" fmla="*/ 3636847 w 3692863"/>
              <a:gd name="connsiteY3" fmla="*/ 2096830 h 5143500"/>
              <a:gd name="connsiteX4" fmla="*/ 3031891 w 3692863"/>
              <a:gd name="connsiteY4" fmla="*/ 4217886 h 5143500"/>
              <a:gd name="connsiteX5" fmla="*/ 2462412 w 3692863"/>
              <a:gd name="connsiteY5" fmla="*/ 4719988 h 5143500"/>
              <a:gd name="connsiteX6" fmla="*/ 752359 w 3692863"/>
              <a:gd name="connsiteY6" fmla="*/ 5143500 h 5143500"/>
              <a:gd name="connsiteX7" fmla="*/ 0 w 3692863"/>
              <a:gd name="connsiteY7" fmla="*/ 3447865 h 5143500"/>
              <a:gd name="connsiteX8" fmla="*/ 327259 w 3692863"/>
              <a:gd name="connsiteY8" fmla="*/ 425100 h 5143500"/>
              <a:gd name="connsiteX0" fmla="*/ 327259 w 3697188"/>
              <a:gd name="connsiteY0" fmla="*/ 425100 h 5143500"/>
              <a:gd name="connsiteX1" fmla="*/ 2244274 w 3697188"/>
              <a:gd name="connsiteY1" fmla="*/ 0 h 5143500"/>
              <a:gd name="connsiteX2" fmla="*/ 3483312 w 3697188"/>
              <a:gd name="connsiteY2" fmla="*/ 1325414 h 5143500"/>
              <a:gd name="connsiteX3" fmla="*/ 3636847 w 3697188"/>
              <a:gd name="connsiteY3" fmla="*/ 2096830 h 5143500"/>
              <a:gd name="connsiteX4" fmla="*/ 3031891 w 3697188"/>
              <a:gd name="connsiteY4" fmla="*/ 4217886 h 5143500"/>
              <a:gd name="connsiteX5" fmla="*/ 2462412 w 3697188"/>
              <a:gd name="connsiteY5" fmla="*/ 4719988 h 5143500"/>
              <a:gd name="connsiteX6" fmla="*/ 752359 w 3697188"/>
              <a:gd name="connsiteY6" fmla="*/ 5143500 h 5143500"/>
              <a:gd name="connsiteX7" fmla="*/ 0 w 3697188"/>
              <a:gd name="connsiteY7" fmla="*/ 3447865 h 5143500"/>
              <a:gd name="connsiteX8" fmla="*/ 327259 w 3697188"/>
              <a:gd name="connsiteY8" fmla="*/ 425100 h 5143500"/>
              <a:gd name="connsiteX0" fmla="*/ 327259 w 3687052"/>
              <a:gd name="connsiteY0" fmla="*/ 425100 h 5143500"/>
              <a:gd name="connsiteX1" fmla="*/ 2244274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63749 w 3423542"/>
              <a:gd name="connsiteY0" fmla="*/ 425100 h 5150874"/>
              <a:gd name="connsiteX1" fmla="*/ 1947580 w 3423542"/>
              <a:gd name="connsiteY1" fmla="*/ 0 h 5150874"/>
              <a:gd name="connsiteX2" fmla="*/ 3219802 w 3423542"/>
              <a:gd name="connsiteY2" fmla="*/ 1325414 h 5150874"/>
              <a:gd name="connsiteX3" fmla="*/ 3373337 w 3423542"/>
              <a:gd name="connsiteY3" fmla="*/ 2096830 h 5150874"/>
              <a:gd name="connsiteX4" fmla="*/ 2749946 w 3423542"/>
              <a:gd name="connsiteY4" fmla="*/ 4225261 h 5150874"/>
              <a:gd name="connsiteX5" fmla="*/ 2198902 w 3423542"/>
              <a:gd name="connsiteY5" fmla="*/ 4719988 h 5150874"/>
              <a:gd name="connsiteX6" fmla="*/ 433542 w 3423542"/>
              <a:gd name="connsiteY6" fmla="*/ 5150874 h 5150874"/>
              <a:gd name="connsiteX7" fmla="*/ 60954 w 3423542"/>
              <a:gd name="connsiteY7" fmla="*/ 5143930 h 5150874"/>
              <a:gd name="connsiteX8" fmla="*/ 63749 w 3423542"/>
              <a:gd name="connsiteY8" fmla="*/ 425100 h 5150874"/>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2795 w 3362588"/>
              <a:gd name="connsiteY0" fmla="*/ 425100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2795 w 3362588"/>
              <a:gd name="connsiteY8" fmla="*/ 425100 h 5147187"/>
              <a:gd name="connsiteX0" fmla="*/ 2795 w 3362588"/>
              <a:gd name="connsiteY0" fmla="*/ 0 h 5160852"/>
              <a:gd name="connsiteX1" fmla="*/ 1886626 w 3362588"/>
              <a:gd name="connsiteY1" fmla="*/ 13665 h 5160852"/>
              <a:gd name="connsiteX2" fmla="*/ 3158848 w 3362588"/>
              <a:gd name="connsiteY2" fmla="*/ 1339079 h 5160852"/>
              <a:gd name="connsiteX3" fmla="*/ 3312383 w 3362588"/>
              <a:gd name="connsiteY3" fmla="*/ 2110495 h 5160852"/>
              <a:gd name="connsiteX4" fmla="*/ 2688992 w 3362588"/>
              <a:gd name="connsiteY4" fmla="*/ 4238926 h 5160852"/>
              <a:gd name="connsiteX5" fmla="*/ 2137948 w 3362588"/>
              <a:gd name="connsiteY5" fmla="*/ 4733653 h 5160852"/>
              <a:gd name="connsiteX6" fmla="*/ 379962 w 3362588"/>
              <a:gd name="connsiteY6" fmla="*/ 5160852 h 5160852"/>
              <a:gd name="connsiteX7" fmla="*/ 0 w 3362588"/>
              <a:gd name="connsiteY7" fmla="*/ 5157595 h 5160852"/>
              <a:gd name="connsiteX8" fmla="*/ 2795 w 3362588"/>
              <a:gd name="connsiteY8" fmla="*/ 0 h 5160852"/>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6482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6482 w 3362588"/>
              <a:gd name="connsiteY8" fmla="*/ 0 h 5149790"/>
              <a:gd name="connsiteX0" fmla="*/ 6482 w 3362588"/>
              <a:gd name="connsiteY0" fmla="*/ 572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6482 w 3362588"/>
              <a:gd name="connsiteY8" fmla="*/ 572 h 5147187"/>
              <a:gd name="connsiteX0" fmla="*/ 132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132 w 3362588"/>
              <a:gd name="connsiteY8" fmla="*/ 3747 h 5147187"/>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3307 w 3362588"/>
              <a:gd name="connsiteY8" fmla="*/ 3747 h 5147187"/>
              <a:gd name="connsiteX0" fmla="*/ 3307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3307 w 3362588"/>
              <a:gd name="connsiteY8" fmla="*/ 0 h 514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2588" h="5149790">
                <a:moveTo>
                  <a:pt x="3307" y="0"/>
                </a:moveTo>
                <a:cubicBezTo>
                  <a:pt x="6994" y="4885"/>
                  <a:pt x="1651850" y="2603"/>
                  <a:pt x="1886626" y="2603"/>
                </a:cubicBezTo>
                <a:lnTo>
                  <a:pt x="3158848" y="1328017"/>
                </a:lnTo>
                <a:cubicBezTo>
                  <a:pt x="3415745" y="1619297"/>
                  <a:pt x="3382438" y="1827787"/>
                  <a:pt x="3312383" y="2099433"/>
                </a:cubicBezTo>
                <a:cubicBezTo>
                  <a:pt x="3139128" y="2654634"/>
                  <a:pt x="2781364" y="3951175"/>
                  <a:pt x="2688992" y="4227864"/>
                </a:cubicBezTo>
                <a:cubicBezTo>
                  <a:pt x="2582066" y="4525320"/>
                  <a:pt x="2475962" y="4619353"/>
                  <a:pt x="2137948" y="4722591"/>
                </a:cubicBezTo>
                <a:lnTo>
                  <a:pt x="379962" y="5149790"/>
                </a:lnTo>
                <a:cubicBezTo>
                  <a:pt x="384848" y="5146103"/>
                  <a:pt x="7374" y="5149022"/>
                  <a:pt x="0" y="5146533"/>
                </a:cubicBezTo>
                <a:cubicBezTo>
                  <a:pt x="3390" y="5151668"/>
                  <a:pt x="3605" y="9614"/>
                  <a:pt x="3307" y="0"/>
                </a:cubicBezTo>
                <a:close/>
              </a:path>
            </a:pathLst>
          </a:custGeom>
        </p:spPr>
        <p:txBody>
          <a:bodyPr anchor="ctr"/>
          <a:lstStyle>
            <a:lvl1pPr algn="ctr">
              <a:defRPr/>
            </a:lvl1pPr>
          </a:lstStyle>
          <a:p>
            <a:endParaRPr lang="en-US"/>
          </a:p>
        </p:txBody>
      </p:sp>
      <p:sp>
        <p:nvSpPr>
          <p:cNvPr id="5" name="Text Placeholder 2"/>
          <p:cNvSpPr>
            <a:spLocks noGrp="1"/>
          </p:cNvSpPr>
          <p:nvPr>
            <p:ph type="body" sz="quarter" idx="11"/>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10" name="Straight Connector 9"/>
          <p:cNvCxnSpPr/>
          <p:nvPr userDrawn="1"/>
        </p:nvCxnSpPr>
        <p:spPr>
          <a:xfrm>
            <a:off x="3594537" y="4314112"/>
            <a:ext cx="3806927"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1" name="Content Placeholder 2"/>
          <p:cNvSpPr>
            <a:spLocks noGrp="1"/>
          </p:cNvSpPr>
          <p:nvPr>
            <p:ph sz="half" idx="12" hasCustomPrompt="1"/>
          </p:nvPr>
        </p:nvSpPr>
        <p:spPr>
          <a:xfrm>
            <a:off x="3594537"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ext uri="{BB962C8B-B14F-4D97-AF65-F5344CB8AC3E}">
        <p14:creationId xmlns:p14="http://schemas.microsoft.com/office/powerpoint/2010/main" val="2953767083"/>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l="43713"/>
          <a:stretch/>
        </p:blipFill>
        <p:spPr>
          <a:xfrm>
            <a:off x="0" y="-18321"/>
            <a:ext cx="9144000" cy="5161823"/>
          </a:xfrm>
          <a:prstGeom prst="rect">
            <a:avLst/>
          </a:prstGeom>
        </p:spPr>
      </p:pic>
      <p:pic>
        <p:nvPicPr>
          <p:cNvPr id="4" name="Picture 3"/>
          <p:cNvPicPr>
            <a:picLocks noChangeAspect="1"/>
          </p:cNvPicPr>
          <p:nvPr userDrawn="1"/>
        </p:nvPicPr>
        <p:blipFill>
          <a:blip r:embed="rId3"/>
          <a:stretch>
            <a:fillRect/>
          </a:stretch>
        </p:blipFill>
        <p:spPr>
          <a:xfrm>
            <a:off x="434104" y="392127"/>
            <a:ext cx="617861" cy="617861"/>
          </a:xfrm>
          <a:prstGeom prst="rect">
            <a:avLst/>
          </a:prstGeom>
        </p:spPr>
      </p:pic>
      <p:sp>
        <p:nvSpPr>
          <p:cNvPr id="5" name="TextBox 4"/>
          <p:cNvSpPr txBox="1"/>
          <p:nvPr userDrawn="1"/>
        </p:nvSpPr>
        <p:spPr>
          <a:xfrm>
            <a:off x="321960" y="4313907"/>
            <a:ext cx="5233451" cy="523220"/>
          </a:xfrm>
          <a:prstGeom prst="rect">
            <a:avLst/>
          </a:prstGeom>
          <a:noFill/>
        </p:spPr>
        <p:txBody>
          <a:bodyPr wrap="square" rtlCol="0">
            <a:spAutoFit/>
          </a:bodyPr>
          <a:lstStyle/>
          <a:p>
            <a:r>
              <a:rPr lang="en-US" sz="1400" dirty="0" smtClean="0">
                <a:solidFill>
                  <a:schemeClr val="bg1"/>
                </a:solidFill>
                <a:latin typeface="Arial" charset="0"/>
                <a:ea typeface="Arial" charset="0"/>
                <a:cs typeface="Arial" charset="0"/>
              </a:rPr>
              <a:t>To download the full report please visit </a:t>
            </a:r>
          </a:p>
          <a:p>
            <a:r>
              <a:rPr lang="en-US" sz="1400" dirty="0" smtClean="0">
                <a:solidFill>
                  <a:schemeClr val="bg1"/>
                </a:solidFill>
                <a:latin typeface="Arial" charset="0"/>
                <a:ea typeface="Arial" charset="0"/>
                <a:cs typeface="Arial" charset="0"/>
              </a:rPr>
              <a:t>the GSMA website at </a:t>
            </a:r>
            <a:r>
              <a:rPr lang="en-US" sz="1400" b="1" dirty="0" err="1" smtClean="0">
                <a:solidFill>
                  <a:schemeClr val="bg1"/>
                </a:solidFill>
                <a:latin typeface="Arial" charset="0"/>
                <a:ea typeface="Arial" charset="0"/>
                <a:cs typeface="Arial" charset="0"/>
              </a:rPr>
              <a:t>www.gsma.com</a:t>
            </a:r>
            <a:r>
              <a:rPr lang="en-US" sz="1400" b="1" dirty="0" smtClean="0">
                <a:solidFill>
                  <a:schemeClr val="bg1"/>
                </a:solidFill>
                <a:latin typeface="Arial" charset="0"/>
                <a:ea typeface="Arial" charset="0"/>
                <a:cs typeface="Arial" charset="0"/>
              </a:rPr>
              <a:t>/</a:t>
            </a:r>
            <a:r>
              <a:rPr lang="en-US" sz="1400" b="1" dirty="0" err="1" smtClean="0">
                <a:solidFill>
                  <a:schemeClr val="bg1"/>
                </a:solidFill>
                <a:latin typeface="Arial" charset="0"/>
                <a:ea typeface="Arial" charset="0"/>
                <a:cs typeface="Arial" charset="0"/>
              </a:rPr>
              <a:t>sotir</a:t>
            </a:r>
            <a:endParaRPr lang="en-US" sz="1400" b="1"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1888149647"/>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GSMA Title and Bullete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544" y="1347614"/>
            <a:ext cx="8128882" cy="3185146"/>
          </a:xfrm>
          <a:prstGeom prst="rect">
            <a:avLst/>
          </a:prstGeom>
        </p:spPr>
        <p:txBody>
          <a:bodyPr/>
          <a:lstStyle>
            <a:lvl1pPr marL="342900" indent="-342900">
              <a:buClr>
                <a:srgbClr val="E30613"/>
              </a:buClr>
              <a:buSzPct val="90000"/>
              <a:buFont typeface="Wingdings" charset="2"/>
              <a:buChar char="§"/>
              <a:defRPr>
                <a:solidFill>
                  <a:schemeClr val="tx2"/>
                </a:solidFill>
              </a:defRPr>
            </a:lvl1pPr>
            <a:lvl2pPr marL="742950" indent="-285750">
              <a:buClr>
                <a:srgbClr val="E30613"/>
              </a:buClr>
              <a:buSzPct val="90000"/>
              <a:buFont typeface="Wingdings" charset="2"/>
              <a:buChar char="§"/>
              <a:defRPr>
                <a:solidFill>
                  <a:schemeClr val="tx2"/>
                </a:solidFill>
              </a:defRPr>
            </a:lvl2pPr>
            <a:lvl3pPr marL="1143000" indent="-228600">
              <a:buClr>
                <a:srgbClr val="E30613"/>
              </a:buClr>
              <a:buSzPct val="90000"/>
              <a:buFont typeface="Wingdings" charset="2"/>
              <a:buChar char="§"/>
              <a:defRPr>
                <a:solidFill>
                  <a:schemeClr val="tx2"/>
                </a:solidFill>
              </a:defRPr>
            </a:lvl3pPr>
            <a:lvl4pPr marL="1600200" indent="-228600">
              <a:buClr>
                <a:srgbClr val="E30613"/>
              </a:buClr>
              <a:buSzPct val="90000"/>
              <a:buFont typeface="Wingdings" charset="2"/>
              <a:buChar char="§"/>
              <a:defRPr>
                <a:solidFill>
                  <a:schemeClr val="tx2"/>
                </a:solidFill>
              </a:defRPr>
            </a:lvl4pPr>
            <a:lvl5pPr marL="2057400" indent="-228600">
              <a:buClr>
                <a:srgbClr val="E30613"/>
              </a:buClr>
              <a:buSzPct val="90000"/>
              <a:buFont typeface="Wingdings" charset="2"/>
              <a:buChar char="§"/>
              <a:defRPr>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Slide Number Placeholder 4"/>
          <p:cNvSpPr>
            <a:spLocks noGrp="1"/>
          </p:cNvSpPr>
          <p:nvPr>
            <p:ph type="sldNum" sz="quarter" idx="15"/>
          </p:nvPr>
        </p:nvSpPr>
        <p:spPr>
          <a:xfrm>
            <a:off x="420688" y="4826858"/>
            <a:ext cx="2133600" cy="273844"/>
          </a:xfrm>
        </p:spPr>
        <p:txBody>
          <a:bodyPr/>
          <a:lstStyle/>
          <a:p>
            <a:fld id="{E52D2AFC-71C4-4511-B128-4ECEE52D3027}" type="slidenum">
              <a:rPr lang="en-ZA" smtClean="0"/>
              <a:pPr/>
              <a:t>‹#›</a:t>
            </a:fld>
            <a:endParaRPr lang="en-ZA" dirty="0"/>
          </a:p>
        </p:txBody>
      </p:sp>
      <p:sp>
        <p:nvSpPr>
          <p:cNvPr id="5"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368840040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99014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698" name="think-cell Slide" r:id="rId4" imgW="423" imgH="424" progId="TCLayout.ActiveDocument.1">
                  <p:embed/>
                </p:oleObj>
              </mc:Choice>
              <mc:Fallback>
                <p:oleObj name="think-cell Slide" r:id="rId4" imgW="423" imgH="4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457200" y="931641"/>
            <a:ext cx="4038600" cy="3393579"/>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648200" y="931641"/>
            <a:ext cx="4038600" cy="3393579"/>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8229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sp>
        <p:nvSpPr>
          <p:cNvPr id="5"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7" name="Straight Connector 6"/>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ext uri="{BB962C8B-B14F-4D97-AF65-F5344CB8AC3E}">
        <p14:creationId xmlns:p14="http://schemas.microsoft.com/office/powerpoint/2010/main" val="324990109"/>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931641"/>
            <a:ext cx="4038600" cy="3276217"/>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8229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pic>
        <p:nvPicPr>
          <p:cNvPr id="5" name="Picture 4"/>
          <p:cNvPicPr>
            <a:picLocks noChangeAspect="1"/>
          </p:cNvPicPr>
          <p:nvPr userDrawn="1"/>
        </p:nvPicPr>
        <p:blipFill>
          <a:blip r:embed="rId2"/>
          <a:stretch>
            <a:fillRect/>
          </a:stretch>
        </p:blipFill>
        <p:spPr>
          <a:xfrm>
            <a:off x="4633587" y="931641"/>
            <a:ext cx="1490419" cy="1663602"/>
          </a:xfrm>
          <a:prstGeom prst="rect">
            <a:avLst/>
          </a:prstGeom>
        </p:spPr>
      </p:pic>
      <p:pic>
        <p:nvPicPr>
          <p:cNvPr id="7" name="Picture 6"/>
          <p:cNvPicPr>
            <a:picLocks noChangeAspect="1"/>
          </p:cNvPicPr>
          <p:nvPr userDrawn="1"/>
        </p:nvPicPr>
        <p:blipFill>
          <a:blip r:embed="rId3"/>
          <a:stretch>
            <a:fillRect/>
          </a:stretch>
        </p:blipFill>
        <p:spPr>
          <a:xfrm>
            <a:off x="6285515" y="931641"/>
            <a:ext cx="1490419" cy="1663602"/>
          </a:xfrm>
          <a:prstGeom prst="rect">
            <a:avLst/>
          </a:prstGeom>
        </p:spPr>
      </p:pic>
      <p:pic>
        <p:nvPicPr>
          <p:cNvPr id="10" name="Picture 9"/>
          <p:cNvPicPr>
            <a:picLocks noChangeAspect="1"/>
          </p:cNvPicPr>
          <p:nvPr userDrawn="1"/>
        </p:nvPicPr>
        <p:blipFill>
          <a:blip r:embed="rId3"/>
          <a:stretch>
            <a:fillRect/>
          </a:stretch>
        </p:blipFill>
        <p:spPr>
          <a:xfrm>
            <a:off x="5481116" y="2375686"/>
            <a:ext cx="1490419" cy="1663602"/>
          </a:xfrm>
          <a:prstGeom prst="rect">
            <a:avLst/>
          </a:prstGeom>
        </p:spPr>
      </p:pic>
      <p:pic>
        <p:nvPicPr>
          <p:cNvPr id="11" name="Picture 10"/>
          <p:cNvPicPr>
            <a:picLocks noChangeAspect="1"/>
          </p:cNvPicPr>
          <p:nvPr userDrawn="1"/>
        </p:nvPicPr>
        <p:blipFill>
          <a:blip r:embed="rId2"/>
          <a:stretch>
            <a:fillRect/>
          </a:stretch>
        </p:blipFill>
        <p:spPr>
          <a:xfrm>
            <a:off x="7117221" y="2369053"/>
            <a:ext cx="1490419" cy="1663602"/>
          </a:xfrm>
          <a:prstGeom prst="rect">
            <a:avLst/>
          </a:prstGeom>
        </p:spPr>
      </p:pic>
      <p:sp>
        <p:nvSpPr>
          <p:cNvPr id="12"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
        <p:nvSpPr>
          <p:cNvPr id="17" name="Text Placeholder 16"/>
          <p:cNvSpPr>
            <a:spLocks noGrp="1"/>
          </p:cNvSpPr>
          <p:nvPr>
            <p:ph type="body" sz="quarter" idx="12" hasCustomPrompt="1"/>
          </p:nvPr>
        </p:nvSpPr>
        <p:spPr>
          <a:xfrm>
            <a:off x="4633588" y="122770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18" name="Text Placeholder 16"/>
          <p:cNvSpPr>
            <a:spLocks noGrp="1"/>
          </p:cNvSpPr>
          <p:nvPr>
            <p:ph type="body" sz="quarter" idx="13" hasCustomPrompt="1"/>
          </p:nvPr>
        </p:nvSpPr>
        <p:spPr>
          <a:xfrm>
            <a:off x="6285516" y="122770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19" name="Text Placeholder 16"/>
          <p:cNvSpPr>
            <a:spLocks noGrp="1"/>
          </p:cNvSpPr>
          <p:nvPr>
            <p:ph type="body" sz="quarter" idx="14" hasCustomPrompt="1"/>
          </p:nvPr>
        </p:nvSpPr>
        <p:spPr>
          <a:xfrm>
            <a:off x="7117223" y="2665802"/>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20" name="Text Placeholder 16"/>
          <p:cNvSpPr>
            <a:spLocks noGrp="1"/>
          </p:cNvSpPr>
          <p:nvPr>
            <p:ph type="body" sz="quarter" idx="15" hasCustomPrompt="1"/>
          </p:nvPr>
        </p:nvSpPr>
        <p:spPr>
          <a:xfrm>
            <a:off x="5481117" y="267243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21" name="Text Placeholder 16"/>
          <p:cNvSpPr>
            <a:spLocks noGrp="1"/>
          </p:cNvSpPr>
          <p:nvPr>
            <p:ph type="body" sz="quarter" idx="16" hasCustomPrompt="1"/>
          </p:nvPr>
        </p:nvSpPr>
        <p:spPr>
          <a:xfrm>
            <a:off x="4633588" y="1882298"/>
            <a:ext cx="1490418" cy="600669"/>
          </a:xfrm>
          <a:prstGeom prst="rect">
            <a:avLst/>
          </a:prstGeom>
        </p:spPr>
        <p:txBody>
          <a:bodyPr/>
          <a:lstStyle>
            <a:lvl1pPr marL="0" indent="0" algn="ctr">
              <a:lnSpc>
                <a:spcPct val="70000"/>
              </a:lnSpc>
              <a:buFontTx/>
              <a:buNone/>
              <a:defRPr sz="700" b="0">
                <a:solidFill>
                  <a:schemeClr val="bg1"/>
                </a:solidFill>
              </a:defRPr>
            </a:lvl1pPr>
          </a:lstStyle>
          <a:p>
            <a:pPr lvl="0"/>
            <a:r>
              <a:rPr lang="en-US" dirty="0" smtClean="0"/>
              <a:t>26% customer activity rate among</a:t>
            </a:r>
            <a:endParaRPr lang="en-US" dirty="0"/>
          </a:p>
        </p:txBody>
      </p:sp>
      <p:sp>
        <p:nvSpPr>
          <p:cNvPr id="22" name="Text Placeholder 16"/>
          <p:cNvSpPr>
            <a:spLocks noGrp="1"/>
          </p:cNvSpPr>
          <p:nvPr>
            <p:ph type="body" sz="quarter" idx="17" hasCustomPrompt="1"/>
          </p:nvPr>
        </p:nvSpPr>
        <p:spPr>
          <a:xfrm>
            <a:off x="6285515" y="1882298"/>
            <a:ext cx="1490418" cy="600669"/>
          </a:xfrm>
          <a:prstGeom prst="rect">
            <a:avLst/>
          </a:prstGeom>
        </p:spPr>
        <p:txBody>
          <a:bodyPr/>
          <a:lstStyle>
            <a:lvl1pPr marL="0" indent="0" algn="ctr">
              <a:lnSpc>
                <a:spcPct val="70000"/>
              </a:lnSpc>
              <a:buFontTx/>
              <a:buNone/>
              <a:defRPr sz="700" b="0">
                <a:solidFill>
                  <a:srgbClr val="193C6C"/>
                </a:solidFill>
              </a:defRPr>
            </a:lvl1pPr>
          </a:lstStyle>
          <a:p>
            <a:pPr lvl="0"/>
            <a:r>
              <a:rPr lang="en-US" dirty="0" smtClean="0"/>
              <a:t>26% customer activity rate among</a:t>
            </a:r>
            <a:endParaRPr lang="en-US" dirty="0"/>
          </a:p>
        </p:txBody>
      </p:sp>
      <p:sp>
        <p:nvSpPr>
          <p:cNvPr id="23" name="Text Placeholder 16"/>
          <p:cNvSpPr>
            <a:spLocks noGrp="1"/>
          </p:cNvSpPr>
          <p:nvPr>
            <p:ph type="body" sz="quarter" idx="18" hasCustomPrompt="1"/>
          </p:nvPr>
        </p:nvSpPr>
        <p:spPr>
          <a:xfrm>
            <a:off x="7109322" y="3329190"/>
            <a:ext cx="1490418" cy="546063"/>
          </a:xfrm>
          <a:prstGeom prst="rect">
            <a:avLst/>
          </a:prstGeom>
        </p:spPr>
        <p:txBody>
          <a:bodyPr/>
          <a:lstStyle>
            <a:lvl1pPr marL="0" indent="0" algn="ctr">
              <a:lnSpc>
                <a:spcPct val="70000"/>
              </a:lnSpc>
              <a:buFontTx/>
              <a:buNone/>
              <a:defRPr sz="700" b="0">
                <a:solidFill>
                  <a:schemeClr val="bg1"/>
                </a:solidFill>
              </a:defRPr>
            </a:lvl1pPr>
          </a:lstStyle>
          <a:p>
            <a:pPr lvl="0"/>
            <a:r>
              <a:rPr lang="en-US" dirty="0" smtClean="0"/>
              <a:t>26% customer activity rate among</a:t>
            </a:r>
            <a:endParaRPr lang="en-US" dirty="0"/>
          </a:p>
        </p:txBody>
      </p:sp>
      <p:sp>
        <p:nvSpPr>
          <p:cNvPr id="24" name="Text Placeholder 16"/>
          <p:cNvSpPr>
            <a:spLocks noGrp="1"/>
          </p:cNvSpPr>
          <p:nvPr>
            <p:ph type="body" sz="quarter" idx="19" hasCustomPrompt="1"/>
          </p:nvPr>
        </p:nvSpPr>
        <p:spPr>
          <a:xfrm>
            <a:off x="5489017" y="3335823"/>
            <a:ext cx="1490418" cy="546063"/>
          </a:xfrm>
          <a:prstGeom prst="rect">
            <a:avLst/>
          </a:prstGeom>
        </p:spPr>
        <p:txBody>
          <a:bodyPr/>
          <a:lstStyle>
            <a:lvl1pPr marL="0" indent="0" algn="ctr">
              <a:lnSpc>
                <a:spcPct val="70000"/>
              </a:lnSpc>
              <a:buFontTx/>
              <a:buNone/>
              <a:defRPr sz="700" b="0">
                <a:solidFill>
                  <a:srgbClr val="193C6C"/>
                </a:solidFill>
              </a:defRPr>
            </a:lvl1pPr>
          </a:lstStyle>
          <a:p>
            <a:pPr lvl="0"/>
            <a:r>
              <a:rPr lang="en-US" dirty="0" smtClean="0"/>
              <a:t>26% customer activity rate among</a:t>
            </a:r>
            <a:endParaRPr lang="en-US" dirty="0"/>
          </a:p>
        </p:txBody>
      </p:sp>
    </p:spTree>
    <p:extLst>
      <p:ext uri="{BB962C8B-B14F-4D97-AF65-F5344CB8AC3E}">
        <p14:creationId xmlns:p14="http://schemas.microsoft.com/office/powerpoint/2010/main" val="1097971607"/>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a:xfrm>
            <a:off x="4735102" y="-618"/>
            <a:ext cx="4408897" cy="4905993"/>
          </a:xfrm>
          <a:custGeom>
            <a:avLst/>
            <a:gdLst>
              <a:gd name="connsiteX0" fmla="*/ 0 w 4391025"/>
              <a:gd name="connsiteY0" fmla="*/ 0 h 4905375"/>
              <a:gd name="connsiteX1" fmla="*/ 4391025 w 4391025"/>
              <a:gd name="connsiteY1" fmla="*/ 0 h 4905375"/>
              <a:gd name="connsiteX2" fmla="*/ 4391025 w 4391025"/>
              <a:gd name="connsiteY2" fmla="*/ 4905375 h 4905375"/>
              <a:gd name="connsiteX3" fmla="*/ 0 w 4391025"/>
              <a:gd name="connsiteY3" fmla="*/ 4905375 h 4905375"/>
              <a:gd name="connsiteX4" fmla="*/ 0 w 4391025"/>
              <a:gd name="connsiteY4" fmla="*/ 0 h 4905375"/>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906162 w 4391025"/>
              <a:gd name="connsiteY4"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809625 w 4391025"/>
              <a:gd name="connsiteY4" fmla="*/ 54163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687705 w 4391025"/>
              <a:gd name="connsiteY4" fmla="*/ 32827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432435 w 4391025"/>
              <a:gd name="connsiteY4" fmla="*/ 19970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32385 w 4391025"/>
              <a:gd name="connsiteY4" fmla="*/ 25685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7145 w 4391025"/>
              <a:gd name="connsiteY4" fmla="*/ 3475338 h 4913613"/>
              <a:gd name="connsiteX5" fmla="*/ 32385 w 4391025"/>
              <a:gd name="connsiteY5" fmla="*/ 2568558 h 4913613"/>
              <a:gd name="connsiteX6" fmla="*/ 687705 w 4391025"/>
              <a:gd name="connsiteY6" fmla="*/ 328278 h 4913613"/>
              <a:gd name="connsiteX7" fmla="*/ 906162 w 4391025"/>
              <a:gd name="connsiteY7"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27635 w 4391025"/>
              <a:gd name="connsiteY4" fmla="*/ 3220068 h 4913613"/>
              <a:gd name="connsiteX5" fmla="*/ 32385 w 4391025"/>
              <a:gd name="connsiteY5" fmla="*/ 2568558 h 4913613"/>
              <a:gd name="connsiteX6" fmla="*/ 687705 w 4391025"/>
              <a:gd name="connsiteY6" fmla="*/ 328278 h 4913613"/>
              <a:gd name="connsiteX7" fmla="*/ 906162 w 4391025"/>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5250 w 4358640"/>
              <a:gd name="connsiteY4" fmla="*/ 3220068 h 4913613"/>
              <a:gd name="connsiteX5" fmla="*/ 0 w 4358640"/>
              <a:gd name="connsiteY5" fmla="*/ 2568558 h 4913613"/>
              <a:gd name="connsiteX6" fmla="*/ 655320 w 4358640"/>
              <a:gd name="connsiteY6" fmla="*/ 328278 h 4913613"/>
              <a:gd name="connsiteX7" fmla="*/ 873777 w 4358640"/>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1440 w 4358640"/>
              <a:gd name="connsiteY4" fmla="*/ 3204828 h 4913613"/>
              <a:gd name="connsiteX5" fmla="*/ 0 w 4358640"/>
              <a:gd name="connsiteY5" fmla="*/ 2568558 h 4913613"/>
              <a:gd name="connsiteX6" fmla="*/ 655320 w 4358640"/>
              <a:gd name="connsiteY6" fmla="*/ 328278 h 4913613"/>
              <a:gd name="connsiteX7" fmla="*/ 873777 w 4358640"/>
              <a:gd name="connsiteY7" fmla="*/ 0 h 4913613"/>
              <a:gd name="connsiteX0" fmla="*/ 881147 w 4366010"/>
              <a:gd name="connsiteY0" fmla="*/ 0 h 4913613"/>
              <a:gd name="connsiteX1" fmla="*/ 4366010 w 4366010"/>
              <a:gd name="connsiteY1" fmla="*/ 8238 h 4913613"/>
              <a:gd name="connsiteX2" fmla="*/ 4366010 w 4366010"/>
              <a:gd name="connsiteY2" fmla="*/ 4913613 h 4913613"/>
              <a:gd name="connsiteX3" fmla="*/ 1617095 w 4366010"/>
              <a:gd name="connsiteY3" fmla="*/ 4780263 h 4913613"/>
              <a:gd name="connsiteX4" fmla="*/ 98810 w 4366010"/>
              <a:gd name="connsiteY4" fmla="*/ 3204828 h 4913613"/>
              <a:gd name="connsiteX5" fmla="*/ 7370 w 4366010"/>
              <a:gd name="connsiteY5" fmla="*/ 2568558 h 4913613"/>
              <a:gd name="connsiteX6" fmla="*/ 662690 w 4366010"/>
              <a:gd name="connsiteY6" fmla="*/ 328278 h 4913613"/>
              <a:gd name="connsiteX7" fmla="*/ 881147 w 4366010"/>
              <a:gd name="connsiteY7" fmla="*/ 0 h 4913613"/>
              <a:gd name="connsiteX0" fmla="*/ 915784 w 4400647"/>
              <a:gd name="connsiteY0" fmla="*/ 0 h 4913613"/>
              <a:gd name="connsiteX1" fmla="*/ 4400647 w 4400647"/>
              <a:gd name="connsiteY1" fmla="*/ 8238 h 4913613"/>
              <a:gd name="connsiteX2" fmla="*/ 4400647 w 4400647"/>
              <a:gd name="connsiteY2" fmla="*/ 4913613 h 4913613"/>
              <a:gd name="connsiteX3" fmla="*/ 1651732 w 4400647"/>
              <a:gd name="connsiteY3" fmla="*/ 4780263 h 4913613"/>
              <a:gd name="connsiteX4" fmla="*/ 133447 w 4400647"/>
              <a:gd name="connsiteY4" fmla="*/ 3204828 h 4913613"/>
              <a:gd name="connsiteX5" fmla="*/ 42007 w 4400647"/>
              <a:gd name="connsiteY5" fmla="*/ 2568558 h 4913613"/>
              <a:gd name="connsiteX6" fmla="*/ 697327 w 4400647"/>
              <a:gd name="connsiteY6" fmla="*/ 328278 h 4913613"/>
              <a:gd name="connsiteX7" fmla="*/ 915784 w 4400647"/>
              <a:gd name="connsiteY7" fmla="*/ 0 h 491361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28216 w 4397839"/>
              <a:gd name="connsiteY0" fmla="*/ 0 h 4905993"/>
              <a:gd name="connsiteX1" fmla="*/ 4397839 w 4397839"/>
              <a:gd name="connsiteY1" fmla="*/ 618 h 4905993"/>
              <a:gd name="connsiteX2" fmla="*/ 4397839 w 4397839"/>
              <a:gd name="connsiteY2" fmla="*/ 4905993 h 4905993"/>
              <a:gd name="connsiteX3" fmla="*/ 1648924 w 4397839"/>
              <a:gd name="connsiteY3" fmla="*/ 4772643 h 4905993"/>
              <a:gd name="connsiteX4" fmla="*/ 138259 w 4397839"/>
              <a:gd name="connsiteY4" fmla="*/ 3208638 h 4905993"/>
              <a:gd name="connsiteX5" fmla="*/ 39199 w 4397839"/>
              <a:gd name="connsiteY5" fmla="*/ 2560938 h 4905993"/>
              <a:gd name="connsiteX6" fmla="*/ 694519 w 4397839"/>
              <a:gd name="connsiteY6" fmla="*/ 320658 h 4905993"/>
              <a:gd name="connsiteX7" fmla="*/ 928216 w 4397839"/>
              <a:gd name="connsiteY7" fmla="*/ 0 h 4905993"/>
              <a:gd name="connsiteX0" fmla="*/ 931629 w 4401252"/>
              <a:gd name="connsiteY0" fmla="*/ 0 h 4905993"/>
              <a:gd name="connsiteX1" fmla="*/ 4401252 w 4401252"/>
              <a:gd name="connsiteY1" fmla="*/ 618 h 4905993"/>
              <a:gd name="connsiteX2" fmla="*/ 4401252 w 4401252"/>
              <a:gd name="connsiteY2" fmla="*/ 4905993 h 4905993"/>
              <a:gd name="connsiteX3" fmla="*/ 1652337 w 4401252"/>
              <a:gd name="connsiteY3" fmla="*/ 4772643 h 4905993"/>
              <a:gd name="connsiteX4" fmla="*/ 141672 w 4401252"/>
              <a:gd name="connsiteY4" fmla="*/ 3208638 h 4905993"/>
              <a:gd name="connsiteX5" fmla="*/ 42612 w 4401252"/>
              <a:gd name="connsiteY5" fmla="*/ 2560938 h 4905993"/>
              <a:gd name="connsiteX6" fmla="*/ 697932 w 4401252"/>
              <a:gd name="connsiteY6" fmla="*/ 320658 h 4905993"/>
              <a:gd name="connsiteX7" fmla="*/ 931629 w 4401252"/>
              <a:gd name="connsiteY7" fmla="*/ 0 h 4905993"/>
              <a:gd name="connsiteX0" fmla="*/ 937706 w 4407329"/>
              <a:gd name="connsiteY0" fmla="*/ 0 h 4905993"/>
              <a:gd name="connsiteX1" fmla="*/ 4407329 w 4407329"/>
              <a:gd name="connsiteY1" fmla="*/ 618 h 4905993"/>
              <a:gd name="connsiteX2" fmla="*/ 4407329 w 4407329"/>
              <a:gd name="connsiteY2" fmla="*/ 4905993 h 4905993"/>
              <a:gd name="connsiteX3" fmla="*/ 1658414 w 4407329"/>
              <a:gd name="connsiteY3" fmla="*/ 4772643 h 4905993"/>
              <a:gd name="connsiteX4" fmla="*/ 147749 w 4407329"/>
              <a:gd name="connsiteY4" fmla="*/ 3208638 h 4905993"/>
              <a:gd name="connsiteX5" fmla="*/ 48689 w 4407329"/>
              <a:gd name="connsiteY5" fmla="*/ 2560938 h 4905993"/>
              <a:gd name="connsiteX6" fmla="*/ 704009 w 4407329"/>
              <a:gd name="connsiteY6" fmla="*/ 320658 h 4905993"/>
              <a:gd name="connsiteX7" fmla="*/ 937706 w 4407329"/>
              <a:gd name="connsiteY7" fmla="*/ 0 h 4905993"/>
              <a:gd name="connsiteX0" fmla="*/ 939274 w 4408897"/>
              <a:gd name="connsiteY0" fmla="*/ 0 h 4905993"/>
              <a:gd name="connsiteX1" fmla="*/ 4408897 w 4408897"/>
              <a:gd name="connsiteY1" fmla="*/ 618 h 4905993"/>
              <a:gd name="connsiteX2" fmla="*/ 4408897 w 4408897"/>
              <a:gd name="connsiteY2" fmla="*/ 4905993 h 4905993"/>
              <a:gd name="connsiteX3" fmla="*/ 1659982 w 4408897"/>
              <a:gd name="connsiteY3" fmla="*/ 4772643 h 4905993"/>
              <a:gd name="connsiteX4" fmla="*/ 149317 w 4408897"/>
              <a:gd name="connsiteY4" fmla="*/ 3208638 h 4905993"/>
              <a:gd name="connsiteX5" fmla="*/ 50257 w 4408897"/>
              <a:gd name="connsiteY5" fmla="*/ 2560938 h 4905993"/>
              <a:gd name="connsiteX6" fmla="*/ 705577 w 4408897"/>
              <a:gd name="connsiteY6" fmla="*/ 320658 h 4905993"/>
              <a:gd name="connsiteX7" fmla="*/ 939274 w 4408897"/>
              <a:gd name="connsiteY7" fmla="*/ 0 h 490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8897" h="4905993">
                <a:moveTo>
                  <a:pt x="939274" y="0"/>
                </a:moveTo>
                <a:lnTo>
                  <a:pt x="4408897" y="618"/>
                </a:lnTo>
                <a:lnTo>
                  <a:pt x="4408897" y="4905993"/>
                </a:lnTo>
                <a:lnTo>
                  <a:pt x="1659982" y="4772643"/>
                </a:lnTo>
                <a:lnTo>
                  <a:pt x="149317" y="3208638"/>
                </a:lnTo>
                <a:cubicBezTo>
                  <a:pt x="-52613" y="2977498"/>
                  <a:pt x="-10703" y="2757788"/>
                  <a:pt x="50257" y="2560938"/>
                </a:cubicBezTo>
                <a:lnTo>
                  <a:pt x="705577" y="320658"/>
                </a:lnTo>
                <a:cubicBezTo>
                  <a:pt x="752996" y="183292"/>
                  <a:pt x="823275" y="91646"/>
                  <a:pt x="939274" y="0"/>
                </a:cubicBezTo>
                <a:close/>
              </a:path>
            </a:pathLst>
          </a:custGeom>
        </p:spPr>
        <p:txBody>
          <a:bodyPr anchor="ctr"/>
          <a:lstStyle>
            <a:lvl1pPr algn="ctr">
              <a:defRPr/>
            </a:lvl1pPr>
          </a:lstStyle>
          <a:p>
            <a:endParaRPr lang="en-US" dirty="0"/>
          </a:p>
        </p:txBody>
      </p:sp>
      <p:sp>
        <p:nvSpPr>
          <p:cNvPr id="3" name="Content Placeholder 2"/>
          <p:cNvSpPr>
            <a:spLocks noGrp="1"/>
          </p:cNvSpPr>
          <p:nvPr>
            <p:ph sz="half" idx="1"/>
          </p:nvPr>
        </p:nvSpPr>
        <p:spPr>
          <a:xfrm>
            <a:off x="457200" y="931641"/>
            <a:ext cx="4038600" cy="3276217"/>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4038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pic>
        <p:nvPicPr>
          <p:cNvPr id="16" name="Picture 15"/>
          <p:cNvPicPr>
            <a:picLocks noChangeAspect="1"/>
          </p:cNvPicPr>
          <p:nvPr userDrawn="1"/>
        </p:nvPicPr>
        <p:blipFill>
          <a:blip r:embed="rId2"/>
          <a:stretch>
            <a:fillRect/>
          </a:stretch>
        </p:blipFill>
        <p:spPr>
          <a:xfrm>
            <a:off x="5874818" y="4276166"/>
            <a:ext cx="3269181" cy="867334"/>
          </a:xfrm>
          <a:prstGeom prst="rect">
            <a:avLst/>
          </a:prstGeom>
        </p:spPr>
      </p:pic>
      <p:sp>
        <p:nvSpPr>
          <p:cNvPr id="17"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spTree>
    <p:extLst>
      <p:ext uri="{BB962C8B-B14F-4D97-AF65-F5344CB8AC3E}">
        <p14:creationId xmlns:p14="http://schemas.microsoft.com/office/powerpoint/2010/main" val="1274252792"/>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3594537" y="1366081"/>
            <a:ext cx="4595647" cy="3142844"/>
          </a:xfrm>
          <a:prstGeom prst="rect">
            <a:avLst/>
          </a:prstGeom>
        </p:spPr>
        <p:txBody>
          <a:bodyPr vert="horz" lIns="91440" tIns="45720" rIns="91440" bIns="45720" rtlCol="0">
            <a:noAutofit/>
          </a:bodyPr>
          <a:lstStyle>
            <a:lvl1pPr marL="0" indent="0">
              <a:buNone/>
              <a:defRPr sz="900" baseline="0">
                <a:solidFill>
                  <a:schemeClr val="tx1"/>
                </a:solidFill>
              </a:defRPr>
            </a:lvl1pPr>
          </a:lstStyle>
          <a:p>
            <a:pPr lvl="0"/>
            <a:r>
              <a:rPr lang="en-JM" dirty="0"/>
              <a:t>Click to insert content</a:t>
            </a:r>
          </a:p>
        </p:txBody>
      </p:sp>
      <p:sp>
        <p:nvSpPr>
          <p:cNvPr id="8" name="Title Placeholder 1"/>
          <p:cNvSpPr>
            <a:spLocks noGrp="1"/>
          </p:cNvSpPr>
          <p:nvPr>
            <p:ph type="title"/>
          </p:nvPr>
        </p:nvSpPr>
        <p:spPr>
          <a:xfrm>
            <a:off x="3594537" y="864630"/>
            <a:ext cx="4595647" cy="432049"/>
          </a:xfrm>
          <a:prstGeom prst="rect">
            <a:avLst/>
          </a:prstGeom>
        </p:spPr>
        <p:txBody>
          <a:bodyPr vert="horz" lIns="91440" tIns="45720" rIns="91440" bIns="45720" rtlCol="0" anchor="t" anchorCtr="0">
            <a:normAutofit/>
          </a:bodyPr>
          <a:lstStyle>
            <a:lvl1pPr>
              <a:defRPr sz="2000">
                <a:solidFill>
                  <a:srgbClr val="00ACD4"/>
                </a:solidFill>
              </a:defRPr>
            </a:lvl1pPr>
          </a:lstStyle>
          <a:p>
            <a:r>
              <a:rPr lang="en-US" dirty="0"/>
              <a:t>Click to edit Master title style</a:t>
            </a:r>
            <a:endParaRPr lang="en-JM" dirty="0"/>
          </a:p>
        </p:txBody>
      </p:sp>
      <p:sp>
        <p:nvSpPr>
          <p:cNvPr id="13" name="Picture Placeholder 12"/>
          <p:cNvSpPr>
            <a:spLocks noGrp="1"/>
          </p:cNvSpPr>
          <p:nvPr>
            <p:ph type="pic" sz="quarter" idx="10"/>
          </p:nvPr>
        </p:nvSpPr>
        <p:spPr>
          <a:xfrm>
            <a:off x="-2796" y="-2604"/>
            <a:ext cx="3362588" cy="5149790"/>
          </a:xfrm>
          <a:custGeom>
            <a:avLst/>
            <a:gdLst>
              <a:gd name="connsiteX0" fmla="*/ 0 w 3359150"/>
              <a:gd name="connsiteY0" fmla="*/ 425100 h 5143500"/>
              <a:gd name="connsiteX1" fmla="*/ 425100 w 3359150"/>
              <a:gd name="connsiteY1" fmla="*/ 0 h 5143500"/>
              <a:gd name="connsiteX2" fmla="*/ 2934050 w 3359150"/>
              <a:gd name="connsiteY2" fmla="*/ 0 h 5143500"/>
              <a:gd name="connsiteX3" fmla="*/ 3359150 w 3359150"/>
              <a:gd name="connsiteY3" fmla="*/ 42510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2934050 w 3359150"/>
              <a:gd name="connsiteY2" fmla="*/ 0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1917015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3261309 w 3686409"/>
              <a:gd name="connsiteY5" fmla="*/ 5143500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2462412 w 3686409"/>
              <a:gd name="connsiteY5" fmla="*/ 4719988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67333"/>
              <a:gd name="connsiteY0" fmla="*/ 425100 h 5143500"/>
              <a:gd name="connsiteX1" fmla="*/ 2244274 w 3667333"/>
              <a:gd name="connsiteY1" fmla="*/ 0 h 5143500"/>
              <a:gd name="connsiteX2" fmla="*/ 3509121 w 3667333"/>
              <a:gd name="connsiteY2" fmla="*/ 1358598 h 5143500"/>
              <a:gd name="connsiteX3" fmla="*/ 3647908 w 3667333"/>
              <a:gd name="connsiteY3" fmla="*/ 2071020 h 5143500"/>
              <a:gd name="connsiteX4" fmla="*/ 3031891 w 3667333"/>
              <a:gd name="connsiteY4" fmla="*/ 4217886 h 5143500"/>
              <a:gd name="connsiteX5" fmla="*/ 2462412 w 3667333"/>
              <a:gd name="connsiteY5" fmla="*/ 4719988 h 5143500"/>
              <a:gd name="connsiteX6" fmla="*/ 752359 w 3667333"/>
              <a:gd name="connsiteY6" fmla="*/ 5143500 h 5143500"/>
              <a:gd name="connsiteX7" fmla="*/ 0 w 3667333"/>
              <a:gd name="connsiteY7" fmla="*/ 3447865 h 5143500"/>
              <a:gd name="connsiteX8" fmla="*/ 327259 w 3667333"/>
              <a:gd name="connsiteY8" fmla="*/ 425100 h 5143500"/>
              <a:gd name="connsiteX0" fmla="*/ 327259 w 3691611"/>
              <a:gd name="connsiteY0" fmla="*/ 425100 h 5143500"/>
              <a:gd name="connsiteX1" fmla="*/ 2244274 w 3691611"/>
              <a:gd name="connsiteY1" fmla="*/ 0 h 5143500"/>
              <a:gd name="connsiteX2" fmla="*/ 3509121 w 3691611"/>
              <a:gd name="connsiteY2" fmla="*/ 1358598 h 5143500"/>
              <a:gd name="connsiteX3" fmla="*/ 3647908 w 3691611"/>
              <a:gd name="connsiteY3" fmla="*/ 2071020 h 5143500"/>
              <a:gd name="connsiteX4" fmla="*/ 3031891 w 3691611"/>
              <a:gd name="connsiteY4" fmla="*/ 4217886 h 5143500"/>
              <a:gd name="connsiteX5" fmla="*/ 2462412 w 3691611"/>
              <a:gd name="connsiteY5" fmla="*/ 4719988 h 5143500"/>
              <a:gd name="connsiteX6" fmla="*/ 752359 w 3691611"/>
              <a:gd name="connsiteY6" fmla="*/ 5143500 h 5143500"/>
              <a:gd name="connsiteX7" fmla="*/ 0 w 3691611"/>
              <a:gd name="connsiteY7" fmla="*/ 3447865 h 5143500"/>
              <a:gd name="connsiteX8" fmla="*/ 327259 w 3691611"/>
              <a:gd name="connsiteY8" fmla="*/ 425100 h 5143500"/>
              <a:gd name="connsiteX0" fmla="*/ 327259 w 3686530"/>
              <a:gd name="connsiteY0" fmla="*/ 425100 h 5143500"/>
              <a:gd name="connsiteX1" fmla="*/ 2244274 w 3686530"/>
              <a:gd name="connsiteY1" fmla="*/ 0 h 5143500"/>
              <a:gd name="connsiteX2" fmla="*/ 3509121 w 3686530"/>
              <a:gd name="connsiteY2" fmla="*/ 1358598 h 5143500"/>
              <a:gd name="connsiteX3" fmla="*/ 3636847 w 3686530"/>
              <a:gd name="connsiteY3" fmla="*/ 2096830 h 5143500"/>
              <a:gd name="connsiteX4" fmla="*/ 3031891 w 3686530"/>
              <a:gd name="connsiteY4" fmla="*/ 4217886 h 5143500"/>
              <a:gd name="connsiteX5" fmla="*/ 2462412 w 3686530"/>
              <a:gd name="connsiteY5" fmla="*/ 4719988 h 5143500"/>
              <a:gd name="connsiteX6" fmla="*/ 752359 w 3686530"/>
              <a:gd name="connsiteY6" fmla="*/ 5143500 h 5143500"/>
              <a:gd name="connsiteX7" fmla="*/ 0 w 3686530"/>
              <a:gd name="connsiteY7" fmla="*/ 3447865 h 5143500"/>
              <a:gd name="connsiteX8" fmla="*/ 327259 w 3686530"/>
              <a:gd name="connsiteY8" fmla="*/ 425100 h 5143500"/>
              <a:gd name="connsiteX0" fmla="*/ 327259 w 3703888"/>
              <a:gd name="connsiteY0" fmla="*/ 425100 h 5143500"/>
              <a:gd name="connsiteX1" fmla="*/ 2244274 w 3703888"/>
              <a:gd name="connsiteY1" fmla="*/ 0 h 5143500"/>
              <a:gd name="connsiteX2" fmla="*/ 3509121 w 3703888"/>
              <a:gd name="connsiteY2" fmla="*/ 1358598 h 5143500"/>
              <a:gd name="connsiteX3" fmla="*/ 3636847 w 3703888"/>
              <a:gd name="connsiteY3" fmla="*/ 2096830 h 5143500"/>
              <a:gd name="connsiteX4" fmla="*/ 3031891 w 3703888"/>
              <a:gd name="connsiteY4" fmla="*/ 4217886 h 5143500"/>
              <a:gd name="connsiteX5" fmla="*/ 2462412 w 3703888"/>
              <a:gd name="connsiteY5" fmla="*/ 4719988 h 5143500"/>
              <a:gd name="connsiteX6" fmla="*/ 752359 w 3703888"/>
              <a:gd name="connsiteY6" fmla="*/ 5143500 h 5143500"/>
              <a:gd name="connsiteX7" fmla="*/ 0 w 3703888"/>
              <a:gd name="connsiteY7" fmla="*/ 3447865 h 5143500"/>
              <a:gd name="connsiteX8" fmla="*/ 327259 w 3703888"/>
              <a:gd name="connsiteY8" fmla="*/ 425100 h 5143500"/>
              <a:gd name="connsiteX0" fmla="*/ 327259 w 3682668"/>
              <a:gd name="connsiteY0" fmla="*/ 425100 h 5143500"/>
              <a:gd name="connsiteX1" fmla="*/ 2244274 w 3682668"/>
              <a:gd name="connsiteY1" fmla="*/ 0 h 5143500"/>
              <a:gd name="connsiteX2" fmla="*/ 3461189 w 3682668"/>
              <a:gd name="connsiteY2" fmla="*/ 1310666 h 5143500"/>
              <a:gd name="connsiteX3" fmla="*/ 3636847 w 3682668"/>
              <a:gd name="connsiteY3" fmla="*/ 2096830 h 5143500"/>
              <a:gd name="connsiteX4" fmla="*/ 3031891 w 3682668"/>
              <a:gd name="connsiteY4" fmla="*/ 4217886 h 5143500"/>
              <a:gd name="connsiteX5" fmla="*/ 2462412 w 3682668"/>
              <a:gd name="connsiteY5" fmla="*/ 4719988 h 5143500"/>
              <a:gd name="connsiteX6" fmla="*/ 752359 w 3682668"/>
              <a:gd name="connsiteY6" fmla="*/ 5143500 h 5143500"/>
              <a:gd name="connsiteX7" fmla="*/ 0 w 3682668"/>
              <a:gd name="connsiteY7" fmla="*/ 3447865 h 5143500"/>
              <a:gd name="connsiteX8" fmla="*/ 327259 w 3682668"/>
              <a:gd name="connsiteY8" fmla="*/ 425100 h 5143500"/>
              <a:gd name="connsiteX0" fmla="*/ 327259 w 3693650"/>
              <a:gd name="connsiteY0" fmla="*/ 425100 h 5143500"/>
              <a:gd name="connsiteX1" fmla="*/ 2244274 w 3693650"/>
              <a:gd name="connsiteY1" fmla="*/ 0 h 5143500"/>
              <a:gd name="connsiteX2" fmla="*/ 3461189 w 3693650"/>
              <a:gd name="connsiteY2" fmla="*/ 1310666 h 5143500"/>
              <a:gd name="connsiteX3" fmla="*/ 3636847 w 3693650"/>
              <a:gd name="connsiteY3" fmla="*/ 2096830 h 5143500"/>
              <a:gd name="connsiteX4" fmla="*/ 3031891 w 3693650"/>
              <a:gd name="connsiteY4" fmla="*/ 4217886 h 5143500"/>
              <a:gd name="connsiteX5" fmla="*/ 2462412 w 3693650"/>
              <a:gd name="connsiteY5" fmla="*/ 4719988 h 5143500"/>
              <a:gd name="connsiteX6" fmla="*/ 752359 w 3693650"/>
              <a:gd name="connsiteY6" fmla="*/ 5143500 h 5143500"/>
              <a:gd name="connsiteX7" fmla="*/ 0 w 3693650"/>
              <a:gd name="connsiteY7" fmla="*/ 3447865 h 5143500"/>
              <a:gd name="connsiteX8" fmla="*/ 327259 w 3693650"/>
              <a:gd name="connsiteY8" fmla="*/ 425100 h 5143500"/>
              <a:gd name="connsiteX0" fmla="*/ 327259 w 3688927"/>
              <a:gd name="connsiteY0" fmla="*/ 425100 h 5143500"/>
              <a:gd name="connsiteX1" fmla="*/ 2244274 w 3688927"/>
              <a:gd name="connsiteY1" fmla="*/ 0 h 5143500"/>
              <a:gd name="connsiteX2" fmla="*/ 3461189 w 3688927"/>
              <a:gd name="connsiteY2" fmla="*/ 1310666 h 5143500"/>
              <a:gd name="connsiteX3" fmla="*/ 3636847 w 3688927"/>
              <a:gd name="connsiteY3" fmla="*/ 2096830 h 5143500"/>
              <a:gd name="connsiteX4" fmla="*/ 3031891 w 3688927"/>
              <a:gd name="connsiteY4" fmla="*/ 4217886 h 5143500"/>
              <a:gd name="connsiteX5" fmla="*/ 2462412 w 3688927"/>
              <a:gd name="connsiteY5" fmla="*/ 4719988 h 5143500"/>
              <a:gd name="connsiteX6" fmla="*/ 752359 w 3688927"/>
              <a:gd name="connsiteY6" fmla="*/ 5143500 h 5143500"/>
              <a:gd name="connsiteX7" fmla="*/ 0 w 3688927"/>
              <a:gd name="connsiteY7" fmla="*/ 3447865 h 5143500"/>
              <a:gd name="connsiteX8" fmla="*/ 327259 w 3688927"/>
              <a:gd name="connsiteY8" fmla="*/ 425100 h 5143500"/>
              <a:gd name="connsiteX0" fmla="*/ 327259 w 3693208"/>
              <a:gd name="connsiteY0" fmla="*/ 425100 h 5143500"/>
              <a:gd name="connsiteX1" fmla="*/ 2244274 w 3693208"/>
              <a:gd name="connsiteY1" fmla="*/ 0 h 5143500"/>
              <a:gd name="connsiteX2" fmla="*/ 3472251 w 3693208"/>
              <a:gd name="connsiteY2" fmla="*/ 1318040 h 5143500"/>
              <a:gd name="connsiteX3" fmla="*/ 3636847 w 3693208"/>
              <a:gd name="connsiteY3" fmla="*/ 2096830 h 5143500"/>
              <a:gd name="connsiteX4" fmla="*/ 3031891 w 3693208"/>
              <a:gd name="connsiteY4" fmla="*/ 4217886 h 5143500"/>
              <a:gd name="connsiteX5" fmla="*/ 2462412 w 3693208"/>
              <a:gd name="connsiteY5" fmla="*/ 4719988 h 5143500"/>
              <a:gd name="connsiteX6" fmla="*/ 752359 w 3693208"/>
              <a:gd name="connsiteY6" fmla="*/ 5143500 h 5143500"/>
              <a:gd name="connsiteX7" fmla="*/ 0 w 3693208"/>
              <a:gd name="connsiteY7" fmla="*/ 3447865 h 5143500"/>
              <a:gd name="connsiteX8" fmla="*/ 327259 w 3693208"/>
              <a:gd name="connsiteY8" fmla="*/ 425100 h 5143500"/>
              <a:gd name="connsiteX0" fmla="*/ 327259 w 3689737"/>
              <a:gd name="connsiteY0" fmla="*/ 425100 h 5143500"/>
              <a:gd name="connsiteX1" fmla="*/ 2244274 w 3689737"/>
              <a:gd name="connsiteY1" fmla="*/ 0 h 5143500"/>
              <a:gd name="connsiteX2" fmla="*/ 3472251 w 3689737"/>
              <a:gd name="connsiteY2" fmla="*/ 1318040 h 5143500"/>
              <a:gd name="connsiteX3" fmla="*/ 3636847 w 3689737"/>
              <a:gd name="connsiteY3" fmla="*/ 2096830 h 5143500"/>
              <a:gd name="connsiteX4" fmla="*/ 3031891 w 3689737"/>
              <a:gd name="connsiteY4" fmla="*/ 4217886 h 5143500"/>
              <a:gd name="connsiteX5" fmla="*/ 2462412 w 3689737"/>
              <a:gd name="connsiteY5" fmla="*/ 4719988 h 5143500"/>
              <a:gd name="connsiteX6" fmla="*/ 752359 w 3689737"/>
              <a:gd name="connsiteY6" fmla="*/ 5143500 h 5143500"/>
              <a:gd name="connsiteX7" fmla="*/ 0 w 3689737"/>
              <a:gd name="connsiteY7" fmla="*/ 3447865 h 5143500"/>
              <a:gd name="connsiteX8" fmla="*/ 327259 w 3689737"/>
              <a:gd name="connsiteY8" fmla="*/ 425100 h 5143500"/>
              <a:gd name="connsiteX0" fmla="*/ 327259 w 3692863"/>
              <a:gd name="connsiteY0" fmla="*/ 425100 h 5143500"/>
              <a:gd name="connsiteX1" fmla="*/ 2244274 w 3692863"/>
              <a:gd name="connsiteY1" fmla="*/ 0 h 5143500"/>
              <a:gd name="connsiteX2" fmla="*/ 3472251 w 3692863"/>
              <a:gd name="connsiteY2" fmla="*/ 1318040 h 5143500"/>
              <a:gd name="connsiteX3" fmla="*/ 3636847 w 3692863"/>
              <a:gd name="connsiteY3" fmla="*/ 2096830 h 5143500"/>
              <a:gd name="connsiteX4" fmla="*/ 3031891 w 3692863"/>
              <a:gd name="connsiteY4" fmla="*/ 4217886 h 5143500"/>
              <a:gd name="connsiteX5" fmla="*/ 2462412 w 3692863"/>
              <a:gd name="connsiteY5" fmla="*/ 4719988 h 5143500"/>
              <a:gd name="connsiteX6" fmla="*/ 752359 w 3692863"/>
              <a:gd name="connsiteY6" fmla="*/ 5143500 h 5143500"/>
              <a:gd name="connsiteX7" fmla="*/ 0 w 3692863"/>
              <a:gd name="connsiteY7" fmla="*/ 3447865 h 5143500"/>
              <a:gd name="connsiteX8" fmla="*/ 327259 w 3692863"/>
              <a:gd name="connsiteY8" fmla="*/ 425100 h 5143500"/>
              <a:gd name="connsiteX0" fmla="*/ 327259 w 3697188"/>
              <a:gd name="connsiteY0" fmla="*/ 425100 h 5143500"/>
              <a:gd name="connsiteX1" fmla="*/ 2244274 w 3697188"/>
              <a:gd name="connsiteY1" fmla="*/ 0 h 5143500"/>
              <a:gd name="connsiteX2" fmla="*/ 3483312 w 3697188"/>
              <a:gd name="connsiteY2" fmla="*/ 1325414 h 5143500"/>
              <a:gd name="connsiteX3" fmla="*/ 3636847 w 3697188"/>
              <a:gd name="connsiteY3" fmla="*/ 2096830 h 5143500"/>
              <a:gd name="connsiteX4" fmla="*/ 3031891 w 3697188"/>
              <a:gd name="connsiteY4" fmla="*/ 4217886 h 5143500"/>
              <a:gd name="connsiteX5" fmla="*/ 2462412 w 3697188"/>
              <a:gd name="connsiteY5" fmla="*/ 4719988 h 5143500"/>
              <a:gd name="connsiteX6" fmla="*/ 752359 w 3697188"/>
              <a:gd name="connsiteY6" fmla="*/ 5143500 h 5143500"/>
              <a:gd name="connsiteX7" fmla="*/ 0 w 3697188"/>
              <a:gd name="connsiteY7" fmla="*/ 3447865 h 5143500"/>
              <a:gd name="connsiteX8" fmla="*/ 327259 w 3697188"/>
              <a:gd name="connsiteY8" fmla="*/ 425100 h 5143500"/>
              <a:gd name="connsiteX0" fmla="*/ 327259 w 3687052"/>
              <a:gd name="connsiteY0" fmla="*/ 425100 h 5143500"/>
              <a:gd name="connsiteX1" fmla="*/ 2244274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63749 w 3423542"/>
              <a:gd name="connsiteY0" fmla="*/ 425100 h 5150874"/>
              <a:gd name="connsiteX1" fmla="*/ 1947580 w 3423542"/>
              <a:gd name="connsiteY1" fmla="*/ 0 h 5150874"/>
              <a:gd name="connsiteX2" fmla="*/ 3219802 w 3423542"/>
              <a:gd name="connsiteY2" fmla="*/ 1325414 h 5150874"/>
              <a:gd name="connsiteX3" fmla="*/ 3373337 w 3423542"/>
              <a:gd name="connsiteY3" fmla="*/ 2096830 h 5150874"/>
              <a:gd name="connsiteX4" fmla="*/ 2749946 w 3423542"/>
              <a:gd name="connsiteY4" fmla="*/ 4225261 h 5150874"/>
              <a:gd name="connsiteX5" fmla="*/ 2198902 w 3423542"/>
              <a:gd name="connsiteY5" fmla="*/ 4719988 h 5150874"/>
              <a:gd name="connsiteX6" fmla="*/ 433542 w 3423542"/>
              <a:gd name="connsiteY6" fmla="*/ 5150874 h 5150874"/>
              <a:gd name="connsiteX7" fmla="*/ 60954 w 3423542"/>
              <a:gd name="connsiteY7" fmla="*/ 5143930 h 5150874"/>
              <a:gd name="connsiteX8" fmla="*/ 63749 w 3423542"/>
              <a:gd name="connsiteY8" fmla="*/ 425100 h 5150874"/>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2795 w 3362588"/>
              <a:gd name="connsiteY0" fmla="*/ 425100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2795 w 3362588"/>
              <a:gd name="connsiteY8" fmla="*/ 425100 h 5147187"/>
              <a:gd name="connsiteX0" fmla="*/ 2795 w 3362588"/>
              <a:gd name="connsiteY0" fmla="*/ 0 h 5160852"/>
              <a:gd name="connsiteX1" fmla="*/ 1886626 w 3362588"/>
              <a:gd name="connsiteY1" fmla="*/ 13665 h 5160852"/>
              <a:gd name="connsiteX2" fmla="*/ 3158848 w 3362588"/>
              <a:gd name="connsiteY2" fmla="*/ 1339079 h 5160852"/>
              <a:gd name="connsiteX3" fmla="*/ 3312383 w 3362588"/>
              <a:gd name="connsiteY3" fmla="*/ 2110495 h 5160852"/>
              <a:gd name="connsiteX4" fmla="*/ 2688992 w 3362588"/>
              <a:gd name="connsiteY4" fmla="*/ 4238926 h 5160852"/>
              <a:gd name="connsiteX5" fmla="*/ 2137948 w 3362588"/>
              <a:gd name="connsiteY5" fmla="*/ 4733653 h 5160852"/>
              <a:gd name="connsiteX6" fmla="*/ 379962 w 3362588"/>
              <a:gd name="connsiteY6" fmla="*/ 5160852 h 5160852"/>
              <a:gd name="connsiteX7" fmla="*/ 0 w 3362588"/>
              <a:gd name="connsiteY7" fmla="*/ 5157595 h 5160852"/>
              <a:gd name="connsiteX8" fmla="*/ 2795 w 3362588"/>
              <a:gd name="connsiteY8" fmla="*/ 0 h 5160852"/>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6482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6482 w 3362588"/>
              <a:gd name="connsiteY8" fmla="*/ 0 h 5149790"/>
              <a:gd name="connsiteX0" fmla="*/ 6482 w 3362588"/>
              <a:gd name="connsiteY0" fmla="*/ 572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6482 w 3362588"/>
              <a:gd name="connsiteY8" fmla="*/ 572 h 5147187"/>
              <a:gd name="connsiteX0" fmla="*/ 132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132 w 3362588"/>
              <a:gd name="connsiteY8" fmla="*/ 3747 h 5147187"/>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3307 w 3362588"/>
              <a:gd name="connsiteY8" fmla="*/ 3747 h 5147187"/>
              <a:gd name="connsiteX0" fmla="*/ 3307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3307 w 3362588"/>
              <a:gd name="connsiteY8" fmla="*/ 0 h 514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2588" h="5149790">
                <a:moveTo>
                  <a:pt x="3307" y="0"/>
                </a:moveTo>
                <a:cubicBezTo>
                  <a:pt x="6994" y="4885"/>
                  <a:pt x="1651850" y="2603"/>
                  <a:pt x="1886626" y="2603"/>
                </a:cubicBezTo>
                <a:lnTo>
                  <a:pt x="3158848" y="1328017"/>
                </a:lnTo>
                <a:cubicBezTo>
                  <a:pt x="3415745" y="1619297"/>
                  <a:pt x="3382438" y="1827787"/>
                  <a:pt x="3312383" y="2099433"/>
                </a:cubicBezTo>
                <a:cubicBezTo>
                  <a:pt x="3139128" y="2654634"/>
                  <a:pt x="2781364" y="3951175"/>
                  <a:pt x="2688992" y="4227864"/>
                </a:cubicBezTo>
                <a:cubicBezTo>
                  <a:pt x="2582066" y="4525320"/>
                  <a:pt x="2475962" y="4619353"/>
                  <a:pt x="2137948" y="4722591"/>
                </a:cubicBezTo>
                <a:lnTo>
                  <a:pt x="379962" y="5149790"/>
                </a:lnTo>
                <a:cubicBezTo>
                  <a:pt x="384848" y="5146103"/>
                  <a:pt x="7374" y="5149022"/>
                  <a:pt x="0" y="5146533"/>
                </a:cubicBezTo>
                <a:cubicBezTo>
                  <a:pt x="3390" y="5151668"/>
                  <a:pt x="3605" y="9614"/>
                  <a:pt x="3307" y="0"/>
                </a:cubicBezTo>
                <a:close/>
              </a:path>
            </a:pathLst>
          </a:custGeom>
        </p:spPr>
        <p:txBody>
          <a:bodyPr anchor="ctr"/>
          <a:lstStyle>
            <a:lvl1pPr algn="ctr">
              <a:defRPr/>
            </a:lvl1pPr>
          </a:lstStyle>
          <a:p>
            <a:endParaRPr lang="en-US"/>
          </a:p>
        </p:txBody>
      </p:sp>
      <p:sp>
        <p:nvSpPr>
          <p:cNvPr id="5" name="Text Placeholder 2"/>
          <p:cNvSpPr>
            <a:spLocks noGrp="1"/>
          </p:cNvSpPr>
          <p:nvPr>
            <p:ph type="body" sz="quarter" idx="11"/>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10" name="Straight Connector 9"/>
          <p:cNvCxnSpPr/>
          <p:nvPr userDrawn="1"/>
        </p:nvCxnSpPr>
        <p:spPr>
          <a:xfrm>
            <a:off x="3594537" y="4314112"/>
            <a:ext cx="3806927"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1" name="Content Placeholder 2"/>
          <p:cNvSpPr>
            <a:spLocks noGrp="1"/>
          </p:cNvSpPr>
          <p:nvPr>
            <p:ph sz="half" idx="12" hasCustomPrompt="1"/>
          </p:nvPr>
        </p:nvSpPr>
        <p:spPr>
          <a:xfrm>
            <a:off x="3594537"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ext uri="{BB962C8B-B14F-4D97-AF65-F5344CB8AC3E}">
        <p14:creationId xmlns:p14="http://schemas.microsoft.com/office/powerpoint/2010/main" val="1344843229"/>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l="43713"/>
          <a:stretch/>
        </p:blipFill>
        <p:spPr>
          <a:xfrm>
            <a:off x="0" y="-18321"/>
            <a:ext cx="9144000" cy="5161823"/>
          </a:xfrm>
          <a:prstGeom prst="rect">
            <a:avLst/>
          </a:prstGeom>
        </p:spPr>
      </p:pic>
      <p:pic>
        <p:nvPicPr>
          <p:cNvPr id="4" name="Picture 3"/>
          <p:cNvPicPr>
            <a:picLocks noChangeAspect="1"/>
          </p:cNvPicPr>
          <p:nvPr userDrawn="1"/>
        </p:nvPicPr>
        <p:blipFill>
          <a:blip r:embed="rId3"/>
          <a:stretch>
            <a:fillRect/>
          </a:stretch>
        </p:blipFill>
        <p:spPr>
          <a:xfrm>
            <a:off x="434104" y="392127"/>
            <a:ext cx="617861" cy="617861"/>
          </a:xfrm>
          <a:prstGeom prst="rect">
            <a:avLst/>
          </a:prstGeom>
        </p:spPr>
      </p:pic>
      <p:sp>
        <p:nvSpPr>
          <p:cNvPr id="5" name="TextBox 4"/>
          <p:cNvSpPr txBox="1"/>
          <p:nvPr userDrawn="1"/>
        </p:nvSpPr>
        <p:spPr>
          <a:xfrm>
            <a:off x="321960" y="4313907"/>
            <a:ext cx="5233451" cy="523220"/>
          </a:xfrm>
          <a:prstGeom prst="rect">
            <a:avLst/>
          </a:prstGeom>
          <a:noFill/>
        </p:spPr>
        <p:txBody>
          <a:bodyPr wrap="square" rtlCol="0">
            <a:spAutoFit/>
          </a:bodyPr>
          <a:lstStyle/>
          <a:p>
            <a:r>
              <a:rPr lang="en-US" sz="1400" dirty="0" smtClean="0">
                <a:solidFill>
                  <a:schemeClr val="bg1"/>
                </a:solidFill>
                <a:latin typeface="Arial" charset="0"/>
                <a:ea typeface="Arial" charset="0"/>
                <a:cs typeface="Arial" charset="0"/>
              </a:rPr>
              <a:t>To download the full report please visit </a:t>
            </a:r>
          </a:p>
          <a:p>
            <a:r>
              <a:rPr lang="en-US" sz="1400" dirty="0" smtClean="0">
                <a:solidFill>
                  <a:schemeClr val="bg1"/>
                </a:solidFill>
                <a:latin typeface="Arial" charset="0"/>
                <a:ea typeface="Arial" charset="0"/>
                <a:cs typeface="Arial" charset="0"/>
              </a:rPr>
              <a:t>the GSMA website at </a:t>
            </a:r>
            <a:r>
              <a:rPr lang="en-US" sz="1400" b="1" dirty="0" err="1" smtClean="0">
                <a:solidFill>
                  <a:schemeClr val="bg1"/>
                </a:solidFill>
                <a:latin typeface="Arial" charset="0"/>
                <a:ea typeface="Arial" charset="0"/>
                <a:cs typeface="Arial" charset="0"/>
              </a:rPr>
              <a:t>www.gsma.com</a:t>
            </a:r>
            <a:r>
              <a:rPr lang="en-US" sz="1400" b="1" dirty="0" smtClean="0">
                <a:solidFill>
                  <a:schemeClr val="bg1"/>
                </a:solidFill>
                <a:latin typeface="Arial" charset="0"/>
                <a:ea typeface="Arial" charset="0"/>
                <a:cs typeface="Arial" charset="0"/>
              </a:rPr>
              <a:t>/</a:t>
            </a:r>
            <a:r>
              <a:rPr lang="en-US" sz="1400" b="1" dirty="0" err="1" smtClean="0">
                <a:solidFill>
                  <a:schemeClr val="bg1"/>
                </a:solidFill>
                <a:latin typeface="Arial" charset="0"/>
                <a:ea typeface="Arial" charset="0"/>
                <a:cs typeface="Arial" charset="0"/>
              </a:rPr>
              <a:t>sotir</a:t>
            </a:r>
            <a:endParaRPr lang="en-US" sz="1400" b="1"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3657310146"/>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GSMA Title and Bullete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544" y="1347614"/>
            <a:ext cx="8128882" cy="3185146"/>
          </a:xfrm>
          <a:prstGeom prst="rect">
            <a:avLst/>
          </a:prstGeom>
        </p:spPr>
        <p:txBody>
          <a:bodyPr/>
          <a:lstStyle>
            <a:lvl1pPr marL="342900" indent="-342900">
              <a:buClr>
                <a:srgbClr val="E30613"/>
              </a:buClr>
              <a:buSzPct val="90000"/>
              <a:buFont typeface="Wingdings" charset="2"/>
              <a:buChar char="§"/>
              <a:defRPr>
                <a:solidFill>
                  <a:schemeClr val="tx2"/>
                </a:solidFill>
              </a:defRPr>
            </a:lvl1pPr>
            <a:lvl2pPr marL="742950" indent="-285750">
              <a:buClr>
                <a:srgbClr val="E30613"/>
              </a:buClr>
              <a:buSzPct val="90000"/>
              <a:buFont typeface="Wingdings" charset="2"/>
              <a:buChar char="§"/>
              <a:defRPr>
                <a:solidFill>
                  <a:schemeClr val="tx2"/>
                </a:solidFill>
              </a:defRPr>
            </a:lvl2pPr>
            <a:lvl3pPr marL="1143000" indent="-228600">
              <a:buClr>
                <a:srgbClr val="E30613"/>
              </a:buClr>
              <a:buSzPct val="90000"/>
              <a:buFont typeface="Wingdings" charset="2"/>
              <a:buChar char="§"/>
              <a:defRPr>
                <a:solidFill>
                  <a:schemeClr val="tx2"/>
                </a:solidFill>
              </a:defRPr>
            </a:lvl3pPr>
            <a:lvl4pPr marL="1600200" indent="-228600">
              <a:buClr>
                <a:srgbClr val="E30613"/>
              </a:buClr>
              <a:buSzPct val="90000"/>
              <a:buFont typeface="Wingdings" charset="2"/>
              <a:buChar char="§"/>
              <a:defRPr>
                <a:solidFill>
                  <a:schemeClr val="tx2"/>
                </a:solidFill>
              </a:defRPr>
            </a:lvl4pPr>
            <a:lvl5pPr marL="2057400" indent="-228600">
              <a:buClr>
                <a:srgbClr val="E30613"/>
              </a:buClr>
              <a:buSzPct val="90000"/>
              <a:buFont typeface="Wingdings" charset="2"/>
              <a:buChar char="§"/>
              <a:defRPr>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Slide Number Placeholder 4"/>
          <p:cNvSpPr>
            <a:spLocks noGrp="1"/>
          </p:cNvSpPr>
          <p:nvPr>
            <p:ph type="sldNum" sz="quarter" idx="15"/>
          </p:nvPr>
        </p:nvSpPr>
        <p:spPr>
          <a:xfrm>
            <a:off x="420688" y="4826858"/>
            <a:ext cx="2133600" cy="273844"/>
          </a:xfrm>
        </p:spPr>
        <p:txBody>
          <a:bodyPr/>
          <a:lstStyle/>
          <a:p>
            <a:fld id="{E52D2AFC-71C4-4511-B128-4ECEE52D3027}" type="slidenum">
              <a:rPr lang="en-ZA" smtClean="0"/>
              <a:pPr/>
              <a:t>‹#›</a:t>
            </a:fld>
            <a:endParaRPr lang="en-ZA" dirty="0"/>
          </a:p>
        </p:txBody>
      </p:sp>
      <p:sp>
        <p:nvSpPr>
          <p:cNvPr id="5"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3652726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a:xfrm>
            <a:off x="4735102" y="-618"/>
            <a:ext cx="4408897" cy="4905993"/>
          </a:xfrm>
          <a:custGeom>
            <a:avLst/>
            <a:gdLst>
              <a:gd name="connsiteX0" fmla="*/ 0 w 4391025"/>
              <a:gd name="connsiteY0" fmla="*/ 0 h 4905375"/>
              <a:gd name="connsiteX1" fmla="*/ 4391025 w 4391025"/>
              <a:gd name="connsiteY1" fmla="*/ 0 h 4905375"/>
              <a:gd name="connsiteX2" fmla="*/ 4391025 w 4391025"/>
              <a:gd name="connsiteY2" fmla="*/ 4905375 h 4905375"/>
              <a:gd name="connsiteX3" fmla="*/ 0 w 4391025"/>
              <a:gd name="connsiteY3" fmla="*/ 4905375 h 4905375"/>
              <a:gd name="connsiteX4" fmla="*/ 0 w 4391025"/>
              <a:gd name="connsiteY4" fmla="*/ 0 h 4905375"/>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906162 w 4391025"/>
              <a:gd name="connsiteY4"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809625 w 4391025"/>
              <a:gd name="connsiteY4" fmla="*/ 54163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687705 w 4391025"/>
              <a:gd name="connsiteY4" fmla="*/ 32827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432435 w 4391025"/>
              <a:gd name="connsiteY4" fmla="*/ 19970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32385 w 4391025"/>
              <a:gd name="connsiteY4" fmla="*/ 25685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7145 w 4391025"/>
              <a:gd name="connsiteY4" fmla="*/ 3475338 h 4913613"/>
              <a:gd name="connsiteX5" fmla="*/ 32385 w 4391025"/>
              <a:gd name="connsiteY5" fmla="*/ 2568558 h 4913613"/>
              <a:gd name="connsiteX6" fmla="*/ 687705 w 4391025"/>
              <a:gd name="connsiteY6" fmla="*/ 328278 h 4913613"/>
              <a:gd name="connsiteX7" fmla="*/ 906162 w 4391025"/>
              <a:gd name="connsiteY7"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27635 w 4391025"/>
              <a:gd name="connsiteY4" fmla="*/ 3220068 h 4913613"/>
              <a:gd name="connsiteX5" fmla="*/ 32385 w 4391025"/>
              <a:gd name="connsiteY5" fmla="*/ 2568558 h 4913613"/>
              <a:gd name="connsiteX6" fmla="*/ 687705 w 4391025"/>
              <a:gd name="connsiteY6" fmla="*/ 328278 h 4913613"/>
              <a:gd name="connsiteX7" fmla="*/ 906162 w 4391025"/>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5250 w 4358640"/>
              <a:gd name="connsiteY4" fmla="*/ 3220068 h 4913613"/>
              <a:gd name="connsiteX5" fmla="*/ 0 w 4358640"/>
              <a:gd name="connsiteY5" fmla="*/ 2568558 h 4913613"/>
              <a:gd name="connsiteX6" fmla="*/ 655320 w 4358640"/>
              <a:gd name="connsiteY6" fmla="*/ 328278 h 4913613"/>
              <a:gd name="connsiteX7" fmla="*/ 873777 w 4358640"/>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1440 w 4358640"/>
              <a:gd name="connsiteY4" fmla="*/ 3204828 h 4913613"/>
              <a:gd name="connsiteX5" fmla="*/ 0 w 4358640"/>
              <a:gd name="connsiteY5" fmla="*/ 2568558 h 4913613"/>
              <a:gd name="connsiteX6" fmla="*/ 655320 w 4358640"/>
              <a:gd name="connsiteY6" fmla="*/ 328278 h 4913613"/>
              <a:gd name="connsiteX7" fmla="*/ 873777 w 4358640"/>
              <a:gd name="connsiteY7" fmla="*/ 0 h 4913613"/>
              <a:gd name="connsiteX0" fmla="*/ 881147 w 4366010"/>
              <a:gd name="connsiteY0" fmla="*/ 0 h 4913613"/>
              <a:gd name="connsiteX1" fmla="*/ 4366010 w 4366010"/>
              <a:gd name="connsiteY1" fmla="*/ 8238 h 4913613"/>
              <a:gd name="connsiteX2" fmla="*/ 4366010 w 4366010"/>
              <a:gd name="connsiteY2" fmla="*/ 4913613 h 4913613"/>
              <a:gd name="connsiteX3" fmla="*/ 1617095 w 4366010"/>
              <a:gd name="connsiteY3" fmla="*/ 4780263 h 4913613"/>
              <a:gd name="connsiteX4" fmla="*/ 98810 w 4366010"/>
              <a:gd name="connsiteY4" fmla="*/ 3204828 h 4913613"/>
              <a:gd name="connsiteX5" fmla="*/ 7370 w 4366010"/>
              <a:gd name="connsiteY5" fmla="*/ 2568558 h 4913613"/>
              <a:gd name="connsiteX6" fmla="*/ 662690 w 4366010"/>
              <a:gd name="connsiteY6" fmla="*/ 328278 h 4913613"/>
              <a:gd name="connsiteX7" fmla="*/ 881147 w 4366010"/>
              <a:gd name="connsiteY7" fmla="*/ 0 h 4913613"/>
              <a:gd name="connsiteX0" fmla="*/ 915784 w 4400647"/>
              <a:gd name="connsiteY0" fmla="*/ 0 h 4913613"/>
              <a:gd name="connsiteX1" fmla="*/ 4400647 w 4400647"/>
              <a:gd name="connsiteY1" fmla="*/ 8238 h 4913613"/>
              <a:gd name="connsiteX2" fmla="*/ 4400647 w 4400647"/>
              <a:gd name="connsiteY2" fmla="*/ 4913613 h 4913613"/>
              <a:gd name="connsiteX3" fmla="*/ 1651732 w 4400647"/>
              <a:gd name="connsiteY3" fmla="*/ 4780263 h 4913613"/>
              <a:gd name="connsiteX4" fmla="*/ 133447 w 4400647"/>
              <a:gd name="connsiteY4" fmla="*/ 3204828 h 4913613"/>
              <a:gd name="connsiteX5" fmla="*/ 42007 w 4400647"/>
              <a:gd name="connsiteY5" fmla="*/ 2568558 h 4913613"/>
              <a:gd name="connsiteX6" fmla="*/ 697327 w 4400647"/>
              <a:gd name="connsiteY6" fmla="*/ 328278 h 4913613"/>
              <a:gd name="connsiteX7" fmla="*/ 915784 w 4400647"/>
              <a:gd name="connsiteY7" fmla="*/ 0 h 491361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28216 w 4397839"/>
              <a:gd name="connsiteY0" fmla="*/ 0 h 4905993"/>
              <a:gd name="connsiteX1" fmla="*/ 4397839 w 4397839"/>
              <a:gd name="connsiteY1" fmla="*/ 618 h 4905993"/>
              <a:gd name="connsiteX2" fmla="*/ 4397839 w 4397839"/>
              <a:gd name="connsiteY2" fmla="*/ 4905993 h 4905993"/>
              <a:gd name="connsiteX3" fmla="*/ 1648924 w 4397839"/>
              <a:gd name="connsiteY3" fmla="*/ 4772643 h 4905993"/>
              <a:gd name="connsiteX4" fmla="*/ 138259 w 4397839"/>
              <a:gd name="connsiteY4" fmla="*/ 3208638 h 4905993"/>
              <a:gd name="connsiteX5" fmla="*/ 39199 w 4397839"/>
              <a:gd name="connsiteY5" fmla="*/ 2560938 h 4905993"/>
              <a:gd name="connsiteX6" fmla="*/ 694519 w 4397839"/>
              <a:gd name="connsiteY6" fmla="*/ 320658 h 4905993"/>
              <a:gd name="connsiteX7" fmla="*/ 928216 w 4397839"/>
              <a:gd name="connsiteY7" fmla="*/ 0 h 4905993"/>
              <a:gd name="connsiteX0" fmla="*/ 931629 w 4401252"/>
              <a:gd name="connsiteY0" fmla="*/ 0 h 4905993"/>
              <a:gd name="connsiteX1" fmla="*/ 4401252 w 4401252"/>
              <a:gd name="connsiteY1" fmla="*/ 618 h 4905993"/>
              <a:gd name="connsiteX2" fmla="*/ 4401252 w 4401252"/>
              <a:gd name="connsiteY2" fmla="*/ 4905993 h 4905993"/>
              <a:gd name="connsiteX3" fmla="*/ 1652337 w 4401252"/>
              <a:gd name="connsiteY3" fmla="*/ 4772643 h 4905993"/>
              <a:gd name="connsiteX4" fmla="*/ 141672 w 4401252"/>
              <a:gd name="connsiteY4" fmla="*/ 3208638 h 4905993"/>
              <a:gd name="connsiteX5" fmla="*/ 42612 w 4401252"/>
              <a:gd name="connsiteY5" fmla="*/ 2560938 h 4905993"/>
              <a:gd name="connsiteX6" fmla="*/ 697932 w 4401252"/>
              <a:gd name="connsiteY6" fmla="*/ 320658 h 4905993"/>
              <a:gd name="connsiteX7" fmla="*/ 931629 w 4401252"/>
              <a:gd name="connsiteY7" fmla="*/ 0 h 4905993"/>
              <a:gd name="connsiteX0" fmla="*/ 937706 w 4407329"/>
              <a:gd name="connsiteY0" fmla="*/ 0 h 4905993"/>
              <a:gd name="connsiteX1" fmla="*/ 4407329 w 4407329"/>
              <a:gd name="connsiteY1" fmla="*/ 618 h 4905993"/>
              <a:gd name="connsiteX2" fmla="*/ 4407329 w 4407329"/>
              <a:gd name="connsiteY2" fmla="*/ 4905993 h 4905993"/>
              <a:gd name="connsiteX3" fmla="*/ 1658414 w 4407329"/>
              <a:gd name="connsiteY3" fmla="*/ 4772643 h 4905993"/>
              <a:gd name="connsiteX4" fmla="*/ 147749 w 4407329"/>
              <a:gd name="connsiteY4" fmla="*/ 3208638 h 4905993"/>
              <a:gd name="connsiteX5" fmla="*/ 48689 w 4407329"/>
              <a:gd name="connsiteY5" fmla="*/ 2560938 h 4905993"/>
              <a:gd name="connsiteX6" fmla="*/ 704009 w 4407329"/>
              <a:gd name="connsiteY6" fmla="*/ 320658 h 4905993"/>
              <a:gd name="connsiteX7" fmla="*/ 937706 w 4407329"/>
              <a:gd name="connsiteY7" fmla="*/ 0 h 4905993"/>
              <a:gd name="connsiteX0" fmla="*/ 939274 w 4408897"/>
              <a:gd name="connsiteY0" fmla="*/ 0 h 4905993"/>
              <a:gd name="connsiteX1" fmla="*/ 4408897 w 4408897"/>
              <a:gd name="connsiteY1" fmla="*/ 618 h 4905993"/>
              <a:gd name="connsiteX2" fmla="*/ 4408897 w 4408897"/>
              <a:gd name="connsiteY2" fmla="*/ 4905993 h 4905993"/>
              <a:gd name="connsiteX3" fmla="*/ 1659982 w 4408897"/>
              <a:gd name="connsiteY3" fmla="*/ 4772643 h 4905993"/>
              <a:gd name="connsiteX4" fmla="*/ 149317 w 4408897"/>
              <a:gd name="connsiteY4" fmla="*/ 3208638 h 4905993"/>
              <a:gd name="connsiteX5" fmla="*/ 50257 w 4408897"/>
              <a:gd name="connsiteY5" fmla="*/ 2560938 h 4905993"/>
              <a:gd name="connsiteX6" fmla="*/ 705577 w 4408897"/>
              <a:gd name="connsiteY6" fmla="*/ 320658 h 4905993"/>
              <a:gd name="connsiteX7" fmla="*/ 939274 w 4408897"/>
              <a:gd name="connsiteY7" fmla="*/ 0 h 490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8897" h="4905993">
                <a:moveTo>
                  <a:pt x="939274" y="0"/>
                </a:moveTo>
                <a:lnTo>
                  <a:pt x="4408897" y="618"/>
                </a:lnTo>
                <a:lnTo>
                  <a:pt x="4408897" y="4905993"/>
                </a:lnTo>
                <a:lnTo>
                  <a:pt x="1659982" y="4772643"/>
                </a:lnTo>
                <a:lnTo>
                  <a:pt x="149317" y="3208638"/>
                </a:lnTo>
                <a:cubicBezTo>
                  <a:pt x="-52613" y="2977498"/>
                  <a:pt x="-10703" y="2757788"/>
                  <a:pt x="50257" y="2560938"/>
                </a:cubicBezTo>
                <a:lnTo>
                  <a:pt x="705577" y="320658"/>
                </a:lnTo>
                <a:cubicBezTo>
                  <a:pt x="752996" y="183292"/>
                  <a:pt x="823275" y="91646"/>
                  <a:pt x="939274" y="0"/>
                </a:cubicBezTo>
                <a:close/>
              </a:path>
            </a:pathLst>
          </a:custGeom>
        </p:spPr>
        <p:txBody>
          <a:bodyPr anchor="ctr"/>
          <a:lstStyle>
            <a:lvl1pPr algn="ctr">
              <a:defRPr/>
            </a:lvl1pPr>
          </a:lstStyle>
          <a:p>
            <a:endParaRPr lang="en-US" dirty="0"/>
          </a:p>
        </p:txBody>
      </p:sp>
      <p:sp>
        <p:nvSpPr>
          <p:cNvPr id="3" name="Content Placeholder 2"/>
          <p:cNvSpPr>
            <a:spLocks noGrp="1"/>
          </p:cNvSpPr>
          <p:nvPr>
            <p:ph sz="half" idx="1"/>
          </p:nvPr>
        </p:nvSpPr>
        <p:spPr>
          <a:xfrm>
            <a:off x="457200" y="931641"/>
            <a:ext cx="4038600" cy="3276217"/>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4038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pic>
        <p:nvPicPr>
          <p:cNvPr id="16" name="Picture 15"/>
          <p:cNvPicPr>
            <a:picLocks noChangeAspect="1"/>
          </p:cNvPicPr>
          <p:nvPr userDrawn="1"/>
        </p:nvPicPr>
        <p:blipFill>
          <a:blip r:embed="rId2"/>
          <a:stretch>
            <a:fillRect/>
          </a:stretch>
        </p:blipFill>
        <p:spPr>
          <a:xfrm>
            <a:off x="5874818" y="4276166"/>
            <a:ext cx="3269181" cy="867334"/>
          </a:xfrm>
          <a:prstGeom prst="rect">
            <a:avLst/>
          </a:prstGeom>
        </p:spPr>
      </p:pic>
      <p:sp>
        <p:nvSpPr>
          <p:cNvPr id="17"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spTree>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305024"/>
            <a:ext cx="4038600" cy="3020196"/>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648200" y="1305024"/>
            <a:ext cx="4038600" cy="3020196"/>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872975"/>
            <a:ext cx="8229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sp>
        <p:nvSpPr>
          <p:cNvPr id="5"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7" name="Straight Connector 6"/>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ext uri="{BB962C8B-B14F-4D97-AF65-F5344CB8AC3E}">
        <p14:creationId xmlns:p14="http://schemas.microsoft.com/office/powerpoint/2010/main" val="505637642"/>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0" y="876804"/>
            <a:ext cx="4038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sp>
        <p:nvSpPr>
          <p:cNvPr id="3" name="Content Placeholder 2"/>
          <p:cNvSpPr>
            <a:spLocks noGrp="1"/>
          </p:cNvSpPr>
          <p:nvPr>
            <p:ph sz="half" idx="1"/>
          </p:nvPr>
        </p:nvSpPr>
        <p:spPr>
          <a:xfrm>
            <a:off x="457200" y="1308853"/>
            <a:ext cx="4038600" cy="2899005"/>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12"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ext uri="{BB962C8B-B14F-4D97-AF65-F5344CB8AC3E}">
        <p14:creationId xmlns:p14="http://schemas.microsoft.com/office/powerpoint/2010/main" val="294422987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a:xfrm>
            <a:off x="4735102" y="-618"/>
            <a:ext cx="4408897" cy="4905993"/>
          </a:xfrm>
          <a:custGeom>
            <a:avLst/>
            <a:gdLst>
              <a:gd name="connsiteX0" fmla="*/ 0 w 4391025"/>
              <a:gd name="connsiteY0" fmla="*/ 0 h 4905375"/>
              <a:gd name="connsiteX1" fmla="*/ 4391025 w 4391025"/>
              <a:gd name="connsiteY1" fmla="*/ 0 h 4905375"/>
              <a:gd name="connsiteX2" fmla="*/ 4391025 w 4391025"/>
              <a:gd name="connsiteY2" fmla="*/ 4905375 h 4905375"/>
              <a:gd name="connsiteX3" fmla="*/ 0 w 4391025"/>
              <a:gd name="connsiteY3" fmla="*/ 4905375 h 4905375"/>
              <a:gd name="connsiteX4" fmla="*/ 0 w 4391025"/>
              <a:gd name="connsiteY4" fmla="*/ 0 h 4905375"/>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906162 w 4391025"/>
              <a:gd name="connsiteY4"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809625 w 4391025"/>
              <a:gd name="connsiteY4" fmla="*/ 54163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687705 w 4391025"/>
              <a:gd name="connsiteY4" fmla="*/ 32827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432435 w 4391025"/>
              <a:gd name="connsiteY4" fmla="*/ 19970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32385 w 4391025"/>
              <a:gd name="connsiteY4" fmla="*/ 25685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7145 w 4391025"/>
              <a:gd name="connsiteY4" fmla="*/ 3475338 h 4913613"/>
              <a:gd name="connsiteX5" fmla="*/ 32385 w 4391025"/>
              <a:gd name="connsiteY5" fmla="*/ 2568558 h 4913613"/>
              <a:gd name="connsiteX6" fmla="*/ 687705 w 4391025"/>
              <a:gd name="connsiteY6" fmla="*/ 328278 h 4913613"/>
              <a:gd name="connsiteX7" fmla="*/ 906162 w 4391025"/>
              <a:gd name="connsiteY7"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27635 w 4391025"/>
              <a:gd name="connsiteY4" fmla="*/ 3220068 h 4913613"/>
              <a:gd name="connsiteX5" fmla="*/ 32385 w 4391025"/>
              <a:gd name="connsiteY5" fmla="*/ 2568558 h 4913613"/>
              <a:gd name="connsiteX6" fmla="*/ 687705 w 4391025"/>
              <a:gd name="connsiteY6" fmla="*/ 328278 h 4913613"/>
              <a:gd name="connsiteX7" fmla="*/ 906162 w 4391025"/>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5250 w 4358640"/>
              <a:gd name="connsiteY4" fmla="*/ 3220068 h 4913613"/>
              <a:gd name="connsiteX5" fmla="*/ 0 w 4358640"/>
              <a:gd name="connsiteY5" fmla="*/ 2568558 h 4913613"/>
              <a:gd name="connsiteX6" fmla="*/ 655320 w 4358640"/>
              <a:gd name="connsiteY6" fmla="*/ 328278 h 4913613"/>
              <a:gd name="connsiteX7" fmla="*/ 873777 w 4358640"/>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1440 w 4358640"/>
              <a:gd name="connsiteY4" fmla="*/ 3204828 h 4913613"/>
              <a:gd name="connsiteX5" fmla="*/ 0 w 4358640"/>
              <a:gd name="connsiteY5" fmla="*/ 2568558 h 4913613"/>
              <a:gd name="connsiteX6" fmla="*/ 655320 w 4358640"/>
              <a:gd name="connsiteY6" fmla="*/ 328278 h 4913613"/>
              <a:gd name="connsiteX7" fmla="*/ 873777 w 4358640"/>
              <a:gd name="connsiteY7" fmla="*/ 0 h 4913613"/>
              <a:gd name="connsiteX0" fmla="*/ 881147 w 4366010"/>
              <a:gd name="connsiteY0" fmla="*/ 0 h 4913613"/>
              <a:gd name="connsiteX1" fmla="*/ 4366010 w 4366010"/>
              <a:gd name="connsiteY1" fmla="*/ 8238 h 4913613"/>
              <a:gd name="connsiteX2" fmla="*/ 4366010 w 4366010"/>
              <a:gd name="connsiteY2" fmla="*/ 4913613 h 4913613"/>
              <a:gd name="connsiteX3" fmla="*/ 1617095 w 4366010"/>
              <a:gd name="connsiteY3" fmla="*/ 4780263 h 4913613"/>
              <a:gd name="connsiteX4" fmla="*/ 98810 w 4366010"/>
              <a:gd name="connsiteY4" fmla="*/ 3204828 h 4913613"/>
              <a:gd name="connsiteX5" fmla="*/ 7370 w 4366010"/>
              <a:gd name="connsiteY5" fmla="*/ 2568558 h 4913613"/>
              <a:gd name="connsiteX6" fmla="*/ 662690 w 4366010"/>
              <a:gd name="connsiteY6" fmla="*/ 328278 h 4913613"/>
              <a:gd name="connsiteX7" fmla="*/ 881147 w 4366010"/>
              <a:gd name="connsiteY7" fmla="*/ 0 h 4913613"/>
              <a:gd name="connsiteX0" fmla="*/ 915784 w 4400647"/>
              <a:gd name="connsiteY0" fmla="*/ 0 h 4913613"/>
              <a:gd name="connsiteX1" fmla="*/ 4400647 w 4400647"/>
              <a:gd name="connsiteY1" fmla="*/ 8238 h 4913613"/>
              <a:gd name="connsiteX2" fmla="*/ 4400647 w 4400647"/>
              <a:gd name="connsiteY2" fmla="*/ 4913613 h 4913613"/>
              <a:gd name="connsiteX3" fmla="*/ 1651732 w 4400647"/>
              <a:gd name="connsiteY3" fmla="*/ 4780263 h 4913613"/>
              <a:gd name="connsiteX4" fmla="*/ 133447 w 4400647"/>
              <a:gd name="connsiteY4" fmla="*/ 3204828 h 4913613"/>
              <a:gd name="connsiteX5" fmla="*/ 42007 w 4400647"/>
              <a:gd name="connsiteY5" fmla="*/ 2568558 h 4913613"/>
              <a:gd name="connsiteX6" fmla="*/ 697327 w 4400647"/>
              <a:gd name="connsiteY6" fmla="*/ 328278 h 4913613"/>
              <a:gd name="connsiteX7" fmla="*/ 915784 w 4400647"/>
              <a:gd name="connsiteY7" fmla="*/ 0 h 491361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28216 w 4397839"/>
              <a:gd name="connsiteY0" fmla="*/ 0 h 4905993"/>
              <a:gd name="connsiteX1" fmla="*/ 4397839 w 4397839"/>
              <a:gd name="connsiteY1" fmla="*/ 618 h 4905993"/>
              <a:gd name="connsiteX2" fmla="*/ 4397839 w 4397839"/>
              <a:gd name="connsiteY2" fmla="*/ 4905993 h 4905993"/>
              <a:gd name="connsiteX3" fmla="*/ 1648924 w 4397839"/>
              <a:gd name="connsiteY3" fmla="*/ 4772643 h 4905993"/>
              <a:gd name="connsiteX4" fmla="*/ 138259 w 4397839"/>
              <a:gd name="connsiteY4" fmla="*/ 3208638 h 4905993"/>
              <a:gd name="connsiteX5" fmla="*/ 39199 w 4397839"/>
              <a:gd name="connsiteY5" fmla="*/ 2560938 h 4905993"/>
              <a:gd name="connsiteX6" fmla="*/ 694519 w 4397839"/>
              <a:gd name="connsiteY6" fmla="*/ 320658 h 4905993"/>
              <a:gd name="connsiteX7" fmla="*/ 928216 w 4397839"/>
              <a:gd name="connsiteY7" fmla="*/ 0 h 4905993"/>
              <a:gd name="connsiteX0" fmla="*/ 931629 w 4401252"/>
              <a:gd name="connsiteY0" fmla="*/ 0 h 4905993"/>
              <a:gd name="connsiteX1" fmla="*/ 4401252 w 4401252"/>
              <a:gd name="connsiteY1" fmla="*/ 618 h 4905993"/>
              <a:gd name="connsiteX2" fmla="*/ 4401252 w 4401252"/>
              <a:gd name="connsiteY2" fmla="*/ 4905993 h 4905993"/>
              <a:gd name="connsiteX3" fmla="*/ 1652337 w 4401252"/>
              <a:gd name="connsiteY3" fmla="*/ 4772643 h 4905993"/>
              <a:gd name="connsiteX4" fmla="*/ 141672 w 4401252"/>
              <a:gd name="connsiteY4" fmla="*/ 3208638 h 4905993"/>
              <a:gd name="connsiteX5" fmla="*/ 42612 w 4401252"/>
              <a:gd name="connsiteY5" fmla="*/ 2560938 h 4905993"/>
              <a:gd name="connsiteX6" fmla="*/ 697932 w 4401252"/>
              <a:gd name="connsiteY6" fmla="*/ 320658 h 4905993"/>
              <a:gd name="connsiteX7" fmla="*/ 931629 w 4401252"/>
              <a:gd name="connsiteY7" fmla="*/ 0 h 4905993"/>
              <a:gd name="connsiteX0" fmla="*/ 937706 w 4407329"/>
              <a:gd name="connsiteY0" fmla="*/ 0 h 4905993"/>
              <a:gd name="connsiteX1" fmla="*/ 4407329 w 4407329"/>
              <a:gd name="connsiteY1" fmla="*/ 618 h 4905993"/>
              <a:gd name="connsiteX2" fmla="*/ 4407329 w 4407329"/>
              <a:gd name="connsiteY2" fmla="*/ 4905993 h 4905993"/>
              <a:gd name="connsiteX3" fmla="*/ 1658414 w 4407329"/>
              <a:gd name="connsiteY3" fmla="*/ 4772643 h 4905993"/>
              <a:gd name="connsiteX4" fmla="*/ 147749 w 4407329"/>
              <a:gd name="connsiteY4" fmla="*/ 3208638 h 4905993"/>
              <a:gd name="connsiteX5" fmla="*/ 48689 w 4407329"/>
              <a:gd name="connsiteY5" fmla="*/ 2560938 h 4905993"/>
              <a:gd name="connsiteX6" fmla="*/ 704009 w 4407329"/>
              <a:gd name="connsiteY6" fmla="*/ 320658 h 4905993"/>
              <a:gd name="connsiteX7" fmla="*/ 937706 w 4407329"/>
              <a:gd name="connsiteY7" fmla="*/ 0 h 4905993"/>
              <a:gd name="connsiteX0" fmla="*/ 939274 w 4408897"/>
              <a:gd name="connsiteY0" fmla="*/ 0 h 4905993"/>
              <a:gd name="connsiteX1" fmla="*/ 4408897 w 4408897"/>
              <a:gd name="connsiteY1" fmla="*/ 618 h 4905993"/>
              <a:gd name="connsiteX2" fmla="*/ 4408897 w 4408897"/>
              <a:gd name="connsiteY2" fmla="*/ 4905993 h 4905993"/>
              <a:gd name="connsiteX3" fmla="*/ 1659982 w 4408897"/>
              <a:gd name="connsiteY3" fmla="*/ 4772643 h 4905993"/>
              <a:gd name="connsiteX4" fmla="*/ 149317 w 4408897"/>
              <a:gd name="connsiteY4" fmla="*/ 3208638 h 4905993"/>
              <a:gd name="connsiteX5" fmla="*/ 50257 w 4408897"/>
              <a:gd name="connsiteY5" fmla="*/ 2560938 h 4905993"/>
              <a:gd name="connsiteX6" fmla="*/ 705577 w 4408897"/>
              <a:gd name="connsiteY6" fmla="*/ 320658 h 4905993"/>
              <a:gd name="connsiteX7" fmla="*/ 939274 w 4408897"/>
              <a:gd name="connsiteY7" fmla="*/ 0 h 490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8897" h="4905993">
                <a:moveTo>
                  <a:pt x="939274" y="0"/>
                </a:moveTo>
                <a:lnTo>
                  <a:pt x="4408897" y="618"/>
                </a:lnTo>
                <a:lnTo>
                  <a:pt x="4408897" y="4905993"/>
                </a:lnTo>
                <a:lnTo>
                  <a:pt x="1659982" y="4772643"/>
                </a:lnTo>
                <a:lnTo>
                  <a:pt x="149317" y="3208638"/>
                </a:lnTo>
                <a:cubicBezTo>
                  <a:pt x="-52613" y="2977498"/>
                  <a:pt x="-10703" y="2757788"/>
                  <a:pt x="50257" y="2560938"/>
                </a:cubicBezTo>
                <a:lnTo>
                  <a:pt x="705577" y="320658"/>
                </a:lnTo>
                <a:cubicBezTo>
                  <a:pt x="752996" y="183292"/>
                  <a:pt x="823275" y="91646"/>
                  <a:pt x="939274" y="0"/>
                </a:cubicBezTo>
                <a:close/>
              </a:path>
            </a:pathLst>
          </a:custGeom>
        </p:spPr>
        <p:txBody>
          <a:bodyPr anchor="ctr"/>
          <a:lstStyle>
            <a:lvl1pPr algn="ctr">
              <a:defRPr/>
            </a:lvl1pPr>
          </a:lstStyle>
          <a:p>
            <a:endParaRPr lang="en-US" dirty="0"/>
          </a:p>
        </p:txBody>
      </p:sp>
      <p:sp>
        <p:nvSpPr>
          <p:cNvPr id="3" name="Content Placeholder 2"/>
          <p:cNvSpPr>
            <a:spLocks noGrp="1"/>
          </p:cNvSpPr>
          <p:nvPr>
            <p:ph sz="half" idx="1"/>
          </p:nvPr>
        </p:nvSpPr>
        <p:spPr>
          <a:xfrm>
            <a:off x="457200" y="1308853"/>
            <a:ext cx="4038600" cy="2899005"/>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876804"/>
            <a:ext cx="4038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pic>
        <p:nvPicPr>
          <p:cNvPr id="16" name="Picture 15"/>
          <p:cNvPicPr>
            <a:picLocks noChangeAspect="1"/>
          </p:cNvPicPr>
          <p:nvPr userDrawn="1"/>
        </p:nvPicPr>
        <p:blipFill>
          <a:blip r:embed="rId2"/>
          <a:stretch>
            <a:fillRect/>
          </a:stretch>
        </p:blipFill>
        <p:spPr>
          <a:xfrm>
            <a:off x="5874818" y="4276166"/>
            <a:ext cx="3269181" cy="867334"/>
          </a:xfrm>
          <a:prstGeom prst="rect">
            <a:avLst/>
          </a:prstGeom>
        </p:spPr>
      </p:pic>
      <p:sp>
        <p:nvSpPr>
          <p:cNvPr id="17"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spTree>
    <p:extLst>
      <p:ext uri="{BB962C8B-B14F-4D97-AF65-F5344CB8AC3E}">
        <p14:creationId xmlns:p14="http://schemas.microsoft.com/office/powerpoint/2010/main" val="2818383518"/>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3594537" y="1366081"/>
            <a:ext cx="4595647" cy="3142844"/>
          </a:xfrm>
          <a:prstGeom prst="rect">
            <a:avLst/>
          </a:prstGeom>
        </p:spPr>
        <p:txBody>
          <a:bodyPr vert="horz" lIns="91440" tIns="45720" rIns="91440" bIns="45720" rtlCol="0">
            <a:noAutofit/>
          </a:bodyPr>
          <a:lstStyle>
            <a:lvl1pPr marL="0" indent="0">
              <a:buNone/>
              <a:defRPr sz="900" baseline="0">
                <a:solidFill>
                  <a:schemeClr val="tx1"/>
                </a:solidFill>
              </a:defRPr>
            </a:lvl1pPr>
          </a:lstStyle>
          <a:p>
            <a:pPr lvl="0"/>
            <a:r>
              <a:rPr lang="en-JM" dirty="0"/>
              <a:t>Click to insert content</a:t>
            </a:r>
          </a:p>
        </p:txBody>
      </p:sp>
      <p:sp>
        <p:nvSpPr>
          <p:cNvPr id="8" name="Title Placeholder 1"/>
          <p:cNvSpPr>
            <a:spLocks noGrp="1"/>
          </p:cNvSpPr>
          <p:nvPr>
            <p:ph type="title"/>
          </p:nvPr>
        </p:nvSpPr>
        <p:spPr>
          <a:xfrm>
            <a:off x="3594537" y="864630"/>
            <a:ext cx="4595647" cy="432049"/>
          </a:xfrm>
          <a:prstGeom prst="rect">
            <a:avLst/>
          </a:prstGeom>
        </p:spPr>
        <p:txBody>
          <a:bodyPr vert="horz" lIns="91440" tIns="45720" rIns="91440" bIns="45720" rtlCol="0" anchor="t" anchorCtr="0">
            <a:normAutofit/>
          </a:bodyPr>
          <a:lstStyle>
            <a:lvl1pPr>
              <a:defRPr sz="2000">
                <a:solidFill>
                  <a:srgbClr val="00ACD4"/>
                </a:solidFill>
              </a:defRPr>
            </a:lvl1pPr>
          </a:lstStyle>
          <a:p>
            <a:r>
              <a:rPr lang="en-US" dirty="0"/>
              <a:t>Click to edit Master title style</a:t>
            </a:r>
            <a:endParaRPr lang="en-JM" dirty="0"/>
          </a:p>
        </p:txBody>
      </p:sp>
      <p:sp>
        <p:nvSpPr>
          <p:cNvPr id="13" name="Picture Placeholder 12"/>
          <p:cNvSpPr>
            <a:spLocks noGrp="1"/>
          </p:cNvSpPr>
          <p:nvPr>
            <p:ph type="pic" sz="quarter" idx="10"/>
          </p:nvPr>
        </p:nvSpPr>
        <p:spPr>
          <a:xfrm>
            <a:off x="-2796" y="-2604"/>
            <a:ext cx="3362588" cy="5149790"/>
          </a:xfrm>
          <a:custGeom>
            <a:avLst/>
            <a:gdLst>
              <a:gd name="connsiteX0" fmla="*/ 0 w 3359150"/>
              <a:gd name="connsiteY0" fmla="*/ 425100 h 5143500"/>
              <a:gd name="connsiteX1" fmla="*/ 425100 w 3359150"/>
              <a:gd name="connsiteY1" fmla="*/ 0 h 5143500"/>
              <a:gd name="connsiteX2" fmla="*/ 2934050 w 3359150"/>
              <a:gd name="connsiteY2" fmla="*/ 0 h 5143500"/>
              <a:gd name="connsiteX3" fmla="*/ 3359150 w 3359150"/>
              <a:gd name="connsiteY3" fmla="*/ 42510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2934050 w 3359150"/>
              <a:gd name="connsiteY2" fmla="*/ 0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1917015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3261309 w 3686409"/>
              <a:gd name="connsiteY5" fmla="*/ 5143500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2462412 w 3686409"/>
              <a:gd name="connsiteY5" fmla="*/ 4719988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67333"/>
              <a:gd name="connsiteY0" fmla="*/ 425100 h 5143500"/>
              <a:gd name="connsiteX1" fmla="*/ 2244274 w 3667333"/>
              <a:gd name="connsiteY1" fmla="*/ 0 h 5143500"/>
              <a:gd name="connsiteX2" fmla="*/ 3509121 w 3667333"/>
              <a:gd name="connsiteY2" fmla="*/ 1358598 h 5143500"/>
              <a:gd name="connsiteX3" fmla="*/ 3647908 w 3667333"/>
              <a:gd name="connsiteY3" fmla="*/ 2071020 h 5143500"/>
              <a:gd name="connsiteX4" fmla="*/ 3031891 w 3667333"/>
              <a:gd name="connsiteY4" fmla="*/ 4217886 h 5143500"/>
              <a:gd name="connsiteX5" fmla="*/ 2462412 w 3667333"/>
              <a:gd name="connsiteY5" fmla="*/ 4719988 h 5143500"/>
              <a:gd name="connsiteX6" fmla="*/ 752359 w 3667333"/>
              <a:gd name="connsiteY6" fmla="*/ 5143500 h 5143500"/>
              <a:gd name="connsiteX7" fmla="*/ 0 w 3667333"/>
              <a:gd name="connsiteY7" fmla="*/ 3447865 h 5143500"/>
              <a:gd name="connsiteX8" fmla="*/ 327259 w 3667333"/>
              <a:gd name="connsiteY8" fmla="*/ 425100 h 5143500"/>
              <a:gd name="connsiteX0" fmla="*/ 327259 w 3691611"/>
              <a:gd name="connsiteY0" fmla="*/ 425100 h 5143500"/>
              <a:gd name="connsiteX1" fmla="*/ 2244274 w 3691611"/>
              <a:gd name="connsiteY1" fmla="*/ 0 h 5143500"/>
              <a:gd name="connsiteX2" fmla="*/ 3509121 w 3691611"/>
              <a:gd name="connsiteY2" fmla="*/ 1358598 h 5143500"/>
              <a:gd name="connsiteX3" fmla="*/ 3647908 w 3691611"/>
              <a:gd name="connsiteY3" fmla="*/ 2071020 h 5143500"/>
              <a:gd name="connsiteX4" fmla="*/ 3031891 w 3691611"/>
              <a:gd name="connsiteY4" fmla="*/ 4217886 h 5143500"/>
              <a:gd name="connsiteX5" fmla="*/ 2462412 w 3691611"/>
              <a:gd name="connsiteY5" fmla="*/ 4719988 h 5143500"/>
              <a:gd name="connsiteX6" fmla="*/ 752359 w 3691611"/>
              <a:gd name="connsiteY6" fmla="*/ 5143500 h 5143500"/>
              <a:gd name="connsiteX7" fmla="*/ 0 w 3691611"/>
              <a:gd name="connsiteY7" fmla="*/ 3447865 h 5143500"/>
              <a:gd name="connsiteX8" fmla="*/ 327259 w 3691611"/>
              <a:gd name="connsiteY8" fmla="*/ 425100 h 5143500"/>
              <a:gd name="connsiteX0" fmla="*/ 327259 w 3686530"/>
              <a:gd name="connsiteY0" fmla="*/ 425100 h 5143500"/>
              <a:gd name="connsiteX1" fmla="*/ 2244274 w 3686530"/>
              <a:gd name="connsiteY1" fmla="*/ 0 h 5143500"/>
              <a:gd name="connsiteX2" fmla="*/ 3509121 w 3686530"/>
              <a:gd name="connsiteY2" fmla="*/ 1358598 h 5143500"/>
              <a:gd name="connsiteX3" fmla="*/ 3636847 w 3686530"/>
              <a:gd name="connsiteY3" fmla="*/ 2096830 h 5143500"/>
              <a:gd name="connsiteX4" fmla="*/ 3031891 w 3686530"/>
              <a:gd name="connsiteY4" fmla="*/ 4217886 h 5143500"/>
              <a:gd name="connsiteX5" fmla="*/ 2462412 w 3686530"/>
              <a:gd name="connsiteY5" fmla="*/ 4719988 h 5143500"/>
              <a:gd name="connsiteX6" fmla="*/ 752359 w 3686530"/>
              <a:gd name="connsiteY6" fmla="*/ 5143500 h 5143500"/>
              <a:gd name="connsiteX7" fmla="*/ 0 w 3686530"/>
              <a:gd name="connsiteY7" fmla="*/ 3447865 h 5143500"/>
              <a:gd name="connsiteX8" fmla="*/ 327259 w 3686530"/>
              <a:gd name="connsiteY8" fmla="*/ 425100 h 5143500"/>
              <a:gd name="connsiteX0" fmla="*/ 327259 w 3703888"/>
              <a:gd name="connsiteY0" fmla="*/ 425100 h 5143500"/>
              <a:gd name="connsiteX1" fmla="*/ 2244274 w 3703888"/>
              <a:gd name="connsiteY1" fmla="*/ 0 h 5143500"/>
              <a:gd name="connsiteX2" fmla="*/ 3509121 w 3703888"/>
              <a:gd name="connsiteY2" fmla="*/ 1358598 h 5143500"/>
              <a:gd name="connsiteX3" fmla="*/ 3636847 w 3703888"/>
              <a:gd name="connsiteY3" fmla="*/ 2096830 h 5143500"/>
              <a:gd name="connsiteX4" fmla="*/ 3031891 w 3703888"/>
              <a:gd name="connsiteY4" fmla="*/ 4217886 h 5143500"/>
              <a:gd name="connsiteX5" fmla="*/ 2462412 w 3703888"/>
              <a:gd name="connsiteY5" fmla="*/ 4719988 h 5143500"/>
              <a:gd name="connsiteX6" fmla="*/ 752359 w 3703888"/>
              <a:gd name="connsiteY6" fmla="*/ 5143500 h 5143500"/>
              <a:gd name="connsiteX7" fmla="*/ 0 w 3703888"/>
              <a:gd name="connsiteY7" fmla="*/ 3447865 h 5143500"/>
              <a:gd name="connsiteX8" fmla="*/ 327259 w 3703888"/>
              <a:gd name="connsiteY8" fmla="*/ 425100 h 5143500"/>
              <a:gd name="connsiteX0" fmla="*/ 327259 w 3682668"/>
              <a:gd name="connsiteY0" fmla="*/ 425100 h 5143500"/>
              <a:gd name="connsiteX1" fmla="*/ 2244274 w 3682668"/>
              <a:gd name="connsiteY1" fmla="*/ 0 h 5143500"/>
              <a:gd name="connsiteX2" fmla="*/ 3461189 w 3682668"/>
              <a:gd name="connsiteY2" fmla="*/ 1310666 h 5143500"/>
              <a:gd name="connsiteX3" fmla="*/ 3636847 w 3682668"/>
              <a:gd name="connsiteY3" fmla="*/ 2096830 h 5143500"/>
              <a:gd name="connsiteX4" fmla="*/ 3031891 w 3682668"/>
              <a:gd name="connsiteY4" fmla="*/ 4217886 h 5143500"/>
              <a:gd name="connsiteX5" fmla="*/ 2462412 w 3682668"/>
              <a:gd name="connsiteY5" fmla="*/ 4719988 h 5143500"/>
              <a:gd name="connsiteX6" fmla="*/ 752359 w 3682668"/>
              <a:gd name="connsiteY6" fmla="*/ 5143500 h 5143500"/>
              <a:gd name="connsiteX7" fmla="*/ 0 w 3682668"/>
              <a:gd name="connsiteY7" fmla="*/ 3447865 h 5143500"/>
              <a:gd name="connsiteX8" fmla="*/ 327259 w 3682668"/>
              <a:gd name="connsiteY8" fmla="*/ 425100 h 5143500"/>
              <a:gd name="connsiteX0" fmla="*/ 327259 w 3693650"/>
              <a:gd name="connsiteY0" fmla="*/ 425100 h 5143500"/>
              <a:gd name="connsiteX1" fmla="*/ 2244274 w 3693650"/>
              <a:gd name="connsiteY1" fmla="*/ 0 h 5143500"/>
              <a:gd name="connsiteX2" fmla="*/ 3461189 w 3693650"/>
              <a:gd name="connsiteY2" fmla="*/ 1310666 h 5143500"/>
              <a:gd name="connsiteX3" fmla="*/ 3636847 w 3693650"/>
              <a:gd name="connsiteY3" fmla="*/ 2096830 h 5143500"/>
              <a:gd name="connsiteX4" fmla="*/ 3031891 w 3693650"/>
              <a:gd name="connsiteY4" fmla="*/ 4217886 h 5143500"/>
              <a:gd name="connsiteX5" fmla="*/ 2462412 w 3693650"/>
              <a:gd name="connsiteY5" fmla="*/ 4719988 h 5143500"/>
              <a:gd name="connsiteX6" fmla="*/ 752359 w 3693650"/>
              <a:gd name="connsiteY6" fmla="*/ 5143500 h 5143500"/>
              <a:gd name="connsiteX7" fmla="*/ 0 w 3693650"/>
              <a:gd name="connsiteY7" fmla="*/ 3447865 h 5143500"/>
              <a:gd name="connsiteX8" fmla="*/ 327259 w 3693650"/>
              <a:gd name="connsiteY8" fmla="*/ 425100 h 5143500"/>
              <a:gd name="connsiteX0" fmla="*/ 327259 w 3688927"/>
              <a:gd name="connsiteY0" fmla="*/ 425100 h 5143500"/>
              <a:gd name="connsiteX1" fmla="*/ 2244274 w 3688927"/>
              <a:gd name="connsiteY1" fmla="*/ 0 h 5143500"/>
              <a:gd name="connsiteX2" fmla="*/ 3461189 w 3688927"/>
              <a:gd name="connsiteY2" fmla="*/ 1310666 h 5143500"/>
              <a:gd name="connsiteX3" fmla="*/ 3636847 w 3688927"/>
              <a:gd name="connsiteY3" fmla="*/ 2096830 h 5143500"/>
              <a:gd name="connsiteX4" fmla="*/ 3031891 w 3688927"/>
              <a:gd name="connsiteY4" fmla="*/ 4217886 h 5143500"/>
              <a:gd name="connsiteX5" fmla="*/ 2462412 w 3688927"/>
              <a:gd name="connsiteY5" fmla="*/ 4719988 h 5143500"/>
              <a:gd name="connsiteX6" fmla="*/ 752359 w 3688927"/>
              <a:gd name="connsiteY6" fmla="*/ 5143500 h 5143500"/>
              <a:gd name="connsiteX7" fmla="*/ 0 w 3688927"/>
              <a:gd name="connsiteY7" fmla="*/ 3447865 h 5143500"/>
              <a:gd name="connsiteX8" fmla="*/ 327259 w 3688927"/>
              <a:gd name="connsiteY8" fmla="*/ 425100 h 5143500"/>
              <a:gd name="connsiteX0" fmla="*/ 327259 w 3693208"/>
              <a:gd name="connsiteY0" fmla="*/ 425100 h 5143500"/>
              <a:gd name="connsiteX1" fmla="*/ 2244274 w 3693208"/>
              <a:gd name="connsiteY1" fmla="*/ 0 h 5143500"/>
              <a:gd name="connsiteX2" fmla="*/ 3472251 w 3693208"/>
              <a:gd name="connsiteY2" fmla="*/ 1318040 h 5143500"/>
              <a:gd name="connsiteX3" fmla="*/ 3636847 w 3693208"/>
              <a:gd name="connsiteY3" fmla="*/ 2096830 h 5143500"/>
              <a:gd name="connsiteX4" fmla="*/ 3031891 w 3693208"/>
              <a:gd name="connsiteY4" fmla="*/ 4217886 h 5143500"/>
              <a:gd name="connsiteX5" fmla="*/ 2462412 w 3693208"/>
              <a:gd name="connsiteY5" fmla="*/ 4719988 h 5143500"/>
              <a:gd name="connsiteX6" fmla="*/ 752359 w 3693208"/>
              <a:gd name="connsiteY6" fmla="*/ 5143500 h 5143500"/>
              <a:gd name="connsiteX7" fmla="*/ 0 w 3693208"/>
              <a:gd name="connsiteY7" fmla="*/ 3447865 h 5143500"/>
              <a:gd name="connsiteX8" fmla="*/ 327259 w 3693208"/>
              <a:gd name="connsiteY8" fmla="*/ 425100 h 5143500"/>
              <a:gd name="connsiteX0" fmla="*/ 327259 w 3689737"/>
              <a:gd name="connsiteY0" fmla="*/ 425100 h 5143500"/>
              <a:gd name="connsiteX1" fmla="*/ 2244274 w 3689737"/>
              <a:gd name="connsiteY1" fmla="*/ 0 h 5143500"/>
              <a:gd name="connsiteX2" fmla="*/ 3472251 w 3689737"/>
              <a:gd name="connsiteY2" fmla="*/ 1318040 h 5143500"/>
              <a:gd name="connsiteX3" fmla="*/ 3636847 w 3689737"/>
              <a:gd name="connsiteY3" fmla="*/ 2096830 h 5143500"/>
              <a:gd name="connsiteX4" fmla="*/ 3031891 w 3689737"/>
              <a:gd name="connsiteY4" fmla="*/ 4217886 h 5143500"/>
              <a:gd name="connsiteX5" fmla="*/ 2462412 w 3689737"/>
              <a:gd name="connsiteY5" fmla="*/ 4719988 h 5143500"/>
              <a:gd name="connsiteX6" fmla="*/ 752359 w 3689737"/>
              <a:gd name="connsiteY6" fmla="*/ 5143500 h 5143500"/>
              <a:gd name="connsiteX7" fmla="*/ 0 w 3689737"/>
              <a:gd name="connsiteY7" fmla="*/ 3447865 h 5143500"/>
              <a:gd name="connsiteX8" fmla="*/ 327259 w 3689737"/>
              <a:gd name="connsiteY8" fmla="*/ 425100 h 5143500"/>
              <a:gd name="connsiteX0" fmla="*/ 327259 w 3692863"/>
              <a:gd name="connsiteY0" fmla="*/ 425100 h 5143500"/>
              <a:gd name="connsiteX1" fmla="*/ 2244274 w 3692863"/>
              <a:gd name="connsiteY1" fmla="*/ 0 h 5143500"/>
              <a:gd name="connsiteX2" fmla="*/ 3472251 w 3692863"/>
              <a:gd name="connsiteY2" fmla="*/ 1318040 h 5143500"/>
              <a:gd name="connsiteX3" fmla="*/ 3636847 w 3692863"/>
              <a:gd name="connsiteY3" fmla="*/ 2096830 h 5143500"/>
              <a:gd name="connsiteX4" fmla="*/ 3031891 w 3692863"/>
              <a:gd name="connsiteY4" fmla="*/ 4217886 h 5143500"/>
              <a:gd name="connsiteX5" fmla="*/ 2462412 w 3692863"/>
              <a:gd name="connsiteY5" fmla="*/ 4719988 h 5143500"/>
              <a:gd name="connsiteX6" fmla="*/ 752359 w 3692863"/>
              <a:gd name="connsiteY6" fmla="*/ 5143500 h 5143500"/>
              <a:gd name="connsiteX7" fmla="*/ 0 w 3692863"/>
              <a:gd name="connsiteY7" fmla="*/ 3447865 h 5143500"/>
              <a:gd name="connsiteX8" fmla="*/ 327259 w 3692863"/>
              <a:gd name="connsiteY8" fmla="*/ 425100 h 5143500"/>
              <a:gd name="connsiteX0" fmla="*/ 327259 w 3697188"/>
              <a:gd name="connsiteY0" fmla="*/ 425100 h 5143500"/>
              <a:gd name="connsiteX1" fmla="*/ 2244274 w 3697188"/>
              <a:gd name="connsiteY1" fmla="*/ 0 h 5143500"/>
              <a:gd name="connsiteX2" fmla="*/ 3483312 w 3697188"/>
              <a:gd name="connsiteY2" fmla="*/ 1325414 h 5143500"/>
              <a:gd name="connsiteX3" fmla="*/ 3636847 w 3697188"/>
              <a:gd name="connsiteY3" fmla="*/ 2096830 h 5143500"/>
              <a:gd name="connsiteX4" fmla="*/ 3031891 w 3697188"/>
              <a:gd name="connsiteY4" fmla="*/ 4217886 h 5143500"/>
              <a:gd name="connsiteX5" fmla="*/ 2462412 w 3697188"/>
              <a:gd name="connsiteY5" fmla="*/ 4719988 h 5143500"/>
              <a:gd name="connsiteX6" fmla="*/ 752359 w 3697188"/>
              <a:gd name="connsiteY6" fmla="*/ 5143500 h 5143500"/>
              <a:gd name="connsiteX7" fmla="*/ 0 w 3697188"/>
              <a:gd name="connsiteY7" fmla="*/ 3447865 h 5143500"/>
              <a:gd name="connsiteX8" fmla="*/ 327259 w 3697188"/>
              <a:gd name="connsiteY8" fmla="*/ 425100 h 5143500"/>
              <a:gd name="connsiteX0" fmla="*/ 327259 w 3687052"/>
              <a:gd name="connsiteY0" fmla="*/ 425100 h 5143500"/>
              <a:gd name="connsiteX1" fmla="*/ 2244274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63749 w 3423542"/>
              <a:gd name="connsiteY0" fmla="*/ 425100 h 5150874"/>
              <a:gd name="connsiteX1" fmla="*/ 1947580 w 3423542"/>
              <a:gd name="connsiteY1" fmla="*/ 0 h 5150874"/>
              <a:gd name="connsiteX2" fmla="*/ 3219802 w 3423542"/>
              <a:gd name="connsiteY2" fmla="*/ 1325414 h 5150874"/>
              <a:gd name="connsiteX3" fmla="*/ 3373337 w 3423542"/>
              <a:gd name="connsiteY3" fmla="*/ 2096830 h 5150874"/>
              <a:gd name="connsiteX4" fmla="*/ 2749946 w 3423542"/>
              <a:gd name="connsiteY4" fmla="*/ 4225261 h 5150874"/>
              <a:gd name="connsiteX5" fmla="*/ 2198902 w 3423542"/>
              <a:gd name="connsiteY5" fmla="*/ 4719988 h 5150874"/>
              <a:gd name="connsiteX6" fmla="*/ 433542 w 3423542"/>
              <a:gd name="connsiteY6" fmla="*/ 5150874 h 5150874"/>
              <a:gd name="connsiteX7" fmla="*/ 60954 w 3423542"/>
              <a:gd name="connsiteY7" fmla="*/ 5143930 h 5150874"/>
              <a:gd name="connsiteX8" fmla="*/ 63749 w 3423542"/>
              <a:gd name="connsiteY8" fmla="*/ 425100 h 5150874"/>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2795 w 3362588"/>
              <a:gd name="connsiteY0" fmla="*/ 425100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2795 w 3362588"/>
              <a:gd name="connsiteY8" fmla="*/ 425100 h 5147187"/>
              <a:gd name="connsiteX0" fmla="*/ 2795 w 3362588"/>
              <a:gd name="connsiteY0" fmla="*/ 0 h 5160852"/>
              <a:gd name="connsiteX1" fmla="*/ 1886626 w 3362588"/>
              <a:gd name="connsiteY1" fmla="*/ 13665 h 5160852"/>
              <a:gd name="connsiteX2" fmla="*/ 3158848 w 3362588"/>
              <a:gd name="connsiteY2" fmla="*/ 1339079 h 5160852"/>
              <a:gd name="connsiteX3" fmla="*/ 3312383 w 3362588"/>
              <a:gd name="connsiteY3" fmla="*/ 2110495 h 5160852"/>
              <a:gd name="connsiteX4" fmla="*/ 2688992 w 3362588"/>
              <a:gd name="connsiteY4" fmla="*/ 4238926 h 5160852"/>
              <a:gd name="connsiteX5" fmla="*/ 2137948 w 3362588"/>
              <a:gd name="connsiteY5" fmla="*/ 4733653 h 5160852"/>
              <a:gd name="connsiteX6" fmla="*/ 379962 w 3362588"/>
              <a:gd name="connsiteY6" fmla="*/ 5160852 h 5160852"/>
              <a:gd name="connsiteX7" fmla="*/ 0 w 3362588"/>
              <a:gd name="connsiteY7" fmla="*/ 5157595 h 5160852"/>
              <a:gd name="connsiteX8" fmla="*/ 2795 w 3362588"/>
              <a:gd name="connsiteY8" fmla="*/ 0 h 5160852"/>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6482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6482 w 3362588"/>
              <a:gd name="connsiteY8" fmla="*/ 0 h 5149790"/>
              <a:gd name="connsiteX0" fmla="*/ 6482 w 3362588"/>
              <a:gd name="connsiteY0" fmla="*/ 572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6482 w 3362588"/>
              <a:gd name="connsiteY8" fmla="*/ 572 h 5147187"/>
              <a:gd name="connsiteX0" fmla="*/ 132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132 w 3362588"/>
              <a:gd name="connsiteY8" fmla="*/ 3747 h 5147187"/>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3307 w 3362588"/>
              <a:gd name="connsiteY8" fmla="*/ 3747 h 5147187"/>
              <a:gd name="connsiteX0" fmla="*/ 3307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3307 w 3362588"/>
              <a:gd name="connsiteY8" fmla="*/ 0 h 514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2588" h="5149790">
                <a:moveTo>
                  <a:pt x="3307" y="0"/>
                </a:moveTo>
                <a:cubicBezTo>
                  <a:pt x="6994" y="4885"/>
                  <a:pt x="1651850" y="2603"/>
                  <a:pt x="1886626" y="2603"/>
                </a:cubicBezTo>
                <a:lnTo>
                  <a:pt x="3158848" y="1328017"/>
                </a:lnTo>
                <a:cubicBezTo>
                  <a:pt x="3415745" y="1619297"/>
                  <a:pt x="3382438" y="1827787"/>
                  <a:pt x="3312383" y="2099433"/>
                </a:cubicBezTo>
                <a:cubicBezTo>
                  <a:pt x="3139128" y="2654634"/>
                  <a:pt x="2781364" y="3951175"/>
                  <a:pt x="2688992" y="4227864"/>
                </a:cubicBezTo>
                <a:cubicBezTo>
                  <a:pt x="2582066" y="4525320"/>
                  <a:pt x="2475962" y="4619353"/>
                  <a:pt x="2137948" y="4722591"/>
                </a:cubicBezTo>
                <a:lnTo>
                  <a:pt x="379962" y="5149790"/>
                </a:lnTo>
                <a:cubicBezTo>
                  <a:pt x="384848" y="5146103"/>
                  <a:pt x="7374" y="5149022"/>
                  <a:pt x="0" y="5146533"/>
                </a:cubicBezTo>
                <a:cubicBezTo>
                  <a:pt x="3390" y="5151668"/>
                  <a:pt x="3605" y="9614"/>
                  <a:pt x="3307" y="0"/>
                </a:cubicBezTo>
                <a:close/>
              </a:path>
            </a:pathLst>
          </a:custGeom>
        </p:spPr>
        <p:txBody>
          <a:bodyPr anchor="ctr"/>
          <a:lstStyle>
            <a:lvl1pPr algn="ctr">
              <a:defRPr/>
            </a:lvl1pPr>
          </a:lstStyle>
          <a:p>
            <a:endParaRPr lang="en-US"/>
          </a:p>
        </p:txBody>
      </p:sp>
      <p:sp>
        <p:nvSpPr>
          <p:cNvPr id="5" name="Text Placeholder 2"/>
          <p:cNvSpPr>
            <a:spLocks noGrp="1"/>
          </p:cNvSpPr>
          <p:nvPr>
            <p:ph type="body" sz="quarter" idx="11"/>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sp>
        <p:nvSpPr>
          <p:cNvPr id="11" name="Content Placeholder 2"/>
          <p:cNvSpPr>
            <a:spLocks noGrp="1"/>
          </p:cNvSpPr>
          <p:nvPr>
            <p:ph sz="half" idx="12" hasCustomPrompt="1"/>
          </p:nvPr>
        </p:nvSpPr>
        <p:spPr>
          <a:xfrm>
            <a:off x="3594537"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cxnSp>
        <p:nvCxnSpPr>
          <p:cNvPr id="9" name="Straight Connector 8"/>
          <p:cNvCxnSpPr/>
          <p:nvPr userDrawn="1"/>
        </p:nvCxnSpPr>
        <p:spPr>
          <a:xfrm>
            <a:off x="3594537" y="4314112"/>
            <a:ext cx="3806927"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79813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3594537" y="1366081"/>
            <a:ext cx="4595647" cy="3142844"/>
          </a:xfrm>
          <a:prstGeom prst="rect">
            <a:avLst/>
          </a:prstGeom>
        </p:spPr>
        <p:txBody>
          <a:bodyPr vert="horz" lIns="91440" tIns="45720" rIns="91440" bIns="45720" rtlCol="0">
            <a:noAutofit/>
          </a:bodyPr>
          <a:lstStyle>
            <a:lvl1pPr marL="0" indent="0">
              <a:buNone/>
              <a:defRPr sz="900" baseline="0">
                <a:solidFill>
                  <a:schemeClr val="tx1"/>
                </a:solidFill>
              </a:defRPr>
            </a:lvl1pPr>
          </a:lstStyle>
          <a:p>
            <a:pPr lvl="0"/>
            <a:r>
              <a:rPr lang="en-JM" dirty="0"/>
              <a:t>Click to insert content</a:t>
            </a:r>
          </a:p>
        </p:txBody>
      </p:sp>
      <p:sp>
        <p:nvSpPr>
          <p:cNvPr id="8" name="Title Placeholder 1"/>
          <p:cNvSpPr>
            <a:spLocks noGrp="1"/>
          </p:cNvSpPr>
          <p:nvPr>
            <p:ph type="title"/>
          </p:nvPr>
        </p:nvSpPr>
        <p:spPr>
          <a:xfrm>
            <a:off x="3594537" y="864630"/>
            <a:ext cx="4595647" cy="432049"/>
          </a:xfrm>
          <a:prstGeom prst="rect">
            <a:avLst/>
          </a:prstGeom>
        </p:spPr>
        <p:txBody>
          <a:bodyPr vert="horz" lIns="91440" tIns="45720" rIns="91440" bIns="45720" rtlCol="0" anchor="t" anchorCtr="0">
            <a:normAutofit/>
          </a:bodyPr>
          <a:lstStyle>
            <a:lvl1pPr>
              <a:defRPr sz="2000">
                <a:solidFill>
                  <a:srgbClr val="00ACD4"/>
                </a:solidFill>
              </a:defRPr>
            </a:lvl1pPr>
          </a:lstStyle>
          <a:p>
            <a:r>
              <a:rPr lang="en-US" dirty="0"/>
              <a:t>Click to edit Master title style</a:t>
            </a:r>
            <a:endParaRPr lang="en-JM" dirty="0"/>
          </a:p>
        </p:txBody>
      </p:sp>
      <p:sp>
        <p:nvSpPr>
          <p:cNvPr id="13" name="Picture Placeholder 12"/>
          <p:cNvSpPr>
            <a:spLocks noGrp="1"/>
          </p:cNvSpPr>
          <p:nvPr>
            <p:ph type="pic" sz="quarter" idx="10"/>
          </p:nvPr>
        </p:nvSpPr>
        <p:spPr>
          <a:xfrm>
            <a:off x="-2796" y="-2604"/>
            <a:ext cx="3362588" cy="5149790"/>
          </a:xfrm>
          <a:custGeom>
            <a:avLst/>
            <a:gdLst>
              <a:gd name="connsiteX0" fmla="*/ 0 w 3359150"/>
              <a:gd name="connsiteY0" fmla="*/ 425100 h 5143500"/>
              <a:gd name="connsiteX1" fmla="*/ 425100 w 3359150"/>
              <a:gd name="connsiteY1" fmla="*/ 0 h 5143500"/>
              <a:gd name="connsiteX2" fmla="*/ 2934050 w 3359150"/>
              <a:gd name="connsiteY2" fmla="*/ 0 h 5143500"/>
              <a:gd name="connsiteX3" fmla="*/ 3359150 w 3359150"/>
              <a:gd name="connsiteY3" fmla="*/ 42510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2934050 w 3359150"/>
              <a:gd name="connsiteY2" fmla="*/ 0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1917015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3261309 w 3686409"/>
              <a:gd name="connsiteY5" fmla="*/ 5143500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2462412 w 3686409"/>
              <a:gd name="connsiteY5" fmla="*/ 4719988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67333"/>
              <a:gd name="connsiteY0" fmla="*/ 425100 h 5143500"/>
              <a:gd name="connsiteX1" fmla="*/ 2244274 w 3667333"/>
              <a:gd name="connsiteY1" fmla="*/ 0 h 5143500"/>
              <a:gd name="connsiteX2" fmla="*/ 3509121 w 3667333"/>
              <a:gd name="connsiteY2" fmla="*/ 1358598 h 5143500"/>
              <a:gd name="connsiteX3" fmla="*/ 3647908 w 3667333"/>
              <a:gd name="connsiteY3" fmla="*/ 2071020 h 5143500"/>
              <a:gd name="connsiteX4" fmla="*/ 3031891 w 3667333"/>
              <a:gd name="connsiteY4" fmla="*/ 4217886 h 5143500"/>
              <a:gd name="connsiteX5" fmla="*/ 2462412 w 3667333"/>
              <a:gd name="connsiteY5" fmla="*/ 4719988 h 5143500"/>
              <a:gd name="connsiteX6" fmla="*/ 752359 w 3667333"/>
              <a:gd name="connsiteY6" fmla="*/ 5143500 h 5143500"/>
              <a:gd name="connsiteX7" fmla="*/ 0 w 3667333"/>
              <a:gd name="connsiteY7" fmla="*/ 3447865 h 5143500"/>
              <a:gd name="connsiteX8" fmla="*/ 327259 w 3667333"/>
              <a:gd name="connsiteY8" fmla="*/ 425100 h 5143500"/>
              <a:gd name="connsiteX0" fmla="*/ 327259 w 3691611"/>
              <a:gd name="connsiteY0" fmla="*/ 425100 h 5143500"/>
              <a:gd name="connsiteX1" fmla="*/ 2244274 w 3691611"/>
              <a:gd name="connsiteY1" fmla="*/ 0 h 5143500"/>
              <a:gd name="connsiteX2" fmla="*/ 3509121 w 3691611"/>
              <a:gd name="connsiteY2" fmla="*/ 1358598 h 5143500"/>
              <a:gd name="connsiteX3" fmla="*/ 3647908 w 3691611"/>
              <a:gd name="connsiteY3" fmla="*/ 2071020 h 5143500"/>
              <a:gd name="connsiteX4" fmla="*/ 3031891 w 3691611"/>
              <a:gd name="connsiteY4" fmla="*/ 4217886 h 5143500"/>
              <a:gd name="connsiteX5" fmla="*/ 2462412 w 3691611"/>
              <a:gd name="connsiteY5" fmla="*/ 4719988 h 5143500"/>
              <a:gd name="connsiteX6" fmla="*/ 752359 w 3691611"/>
              <a:gd name="connsiteY6" fmla="*/ 5143500 h 5143500"/>
              <a:gd name="connsiteX7" fmla="*/ 0 w 3691611"/>
              <a:gd name="connsiteY7" fmla="*/ 3447865 h 5143500"/>
              <a:gd name="connsiteX8" fmla="*/ 327259 w 3691611"/>
              <a:gd name="connsiteY8" fmla="*/ 425100 h 5143500"/>
              <a:gd name="connsiteX0" fmla="*/ 327259 w 3686530"/>
              <a:gd name="connsiteY0" fmla="*/ 425100 h 5143500"/>
              <a:gd name="connsiteX1" fmla="*/ 2244274 w 3686530"/>
              <a:gd name="connsiteY1" fmla="*/ 0 h 5143500"/>
              <a:gd name="connsiteX2" fmla="*/ 3509121 w 3686530"/>
              <a:gd name="connsiteY2" fmla="*/ 1358598 h 5143500"/>
              <a:gd name="connsiteX3" fmla="*/ 3636847 w 3686530"/>
              <a:gd name="connsiteY3" fmla="*/ 2096830 h 5143500"/>
              <a:gd name="connsiteX4" fmla="*/ 3031891 w 3686530"/>
              <a:gd name="connsiteY4" fmla="*/ 4217886 h 5143500"/>
              <a:gd name="connsiteX5" fmla="*/ 2462412 w 3686530"/>
              <a:gd name="connsiteY5" fmla="*/ 4719988 h 5143500"/>
              <a:gd name="connsiteX6" fmla="*/ 752359 w 3686530"/>
              <a:gd name="connsiteY6" fmla="*/ 5143500 h 5143500"/>
              <a:gd name="connsiteX7" fmla="*/ 0 w 3686530"/>
              <a:gd name="connsiteY7" fmla="*/ 3447865 h 5143500"/>
              <a:gd name="connsiteX8" fmla="*/ 327259 w 3686530"/>
              <a:gd name="connsiteY8" fmla="*/ 425100 h 5143500"/>
              <a:gd name="connsiteX0" fmla="*/ 327259 w 3703888"/>
              <a:gd name="connsiteY0" fmla="*/ 425100 h 5143500"/>
              <a:gd name="connsiteX1" fmla="*/ 2244274 w 3703888"/>
              <a:gd name="connsiteY1" fmla="*/ 0 h 5143500"/>
              <a:gd name="connsiteX2" fmla="*/ 3509121 w 3703888"/>
              <a:gd name="connsiteY2" fmla="*/ 1358598 h 5143500"/>
              <a:gd name="connsiteX3" fmla="*/ 3636847 w 3703888"/>
              <a:gd name="connsiteY3" fmla="*/ 2096830 h 5143500"/>
              <a:gd name="connsiteX4" fmla="*/ 3031891 w 3703888"/>
              <a:gd name="connsiteY4" fmla="*/ 4217886 h 5143500"/>
              <a:gd name="connsiteX5" fmla="*/ 2462412 w 3703888"/>
              <a:gd name="connsiteY5" fmla="*/ 4719988 h 5143500"/>
              <a:gd name="connsiteX6" fmla="*/ 752359 w 3703888"/>
              <a:gd name="connsiteY6" fmla="*/ 5143500 h 5143500"/>
              <a:gd name="connsiteX7" fmla="*/ 0 w 3703888"/>
              <a:gd name="connsiteY7" fmla="*/ 3447865 h 5143500"/>
              <a:gd name="connsiteX8" fmla="*/ 327259 w 3703888"/>
              <a:gd name="connsiteY8" fmla="*/ 425100 h 5143500"/>
              <a:gd name="connsiteX0" fmla="*/ 327259 w 3682668"/>
              <a:gd name="connsiteY0" fmla="*/ 425100 h 5143500"/>
              <a:gd name="connsiteX1" fmla="*/ 2244274 w 3682668"/>
              <a:gd name="connsiteY1" fmla="*/ 0 h 5143500"/>
              <a:gd name="connsiteX2" fmla="*/ 3461189 w 3682668"/>
              <a:gd name="connsiteY2" fmla="*/ 1310666 h 5143500"/>
              <a:gd name="connsiteX3" fmla="*/ 3636847 w 3682668"/>
              <a:gd name="connsiteY3" fmla="*/ 2096830 h 5143500"/>
              <a:gd name="connsiteX4" fmla="*/ 3031891 w 3682668"/>
              <a:gd name="connsiteY4" fmla="*/ 4217886 h 5143500"/>
              <a:gd name="connsiteX5" fmla="*/ 2462412 w 3682668"/>
              <a:gd name="connsiteY5" fmla="*/ 4719988 h 5143500"/>
              <a:gd name="connsiteX6" fmla="*/ 752359 w 3682668"/>
              <a:gd name="connsiteY6" fmla="*/ 5143500 h 5143500"/>
              <a:gd name="connsiteX7" fmla="*/ 0 w 3682668"/>
              <a:gd name="connsiteY7" fmla="*/ 3447865 h 5143500"/>
              <a:gd name="connsiteX8" fmla="*/ 327259 w 3682668"/>
              <a:gd name="connsiteY8" fmla="*/ 425100 h 5143500"/>
              <a:gd name="connsiteX0" fmla="*/ 327259 w 3693650"/>
              <a:gd name="connsiteY0" fmla="*/ 425100 h 5143500"/>
              <a:gd name="connsiteX1" fmla="*/ 2244274 w 3693650"/>
              <a:gd name="connsiteY1" fmla="*/ 0 h 5143500"/>
              <a:gd name="connsiteX2" fmla="*/ 3461189 w 3693650"/>
              <a:gd name="connsiteY2" fmla="*/ 1310666 h 5143500"/>
              <a:gd name="connsiteX3" fmla="*/ 3636847 w 3693650"/>
              <a:gd name="connsiteY3" fmla="*/ 2096830 h 5143500"/>
              <a:gd name="connsiteX4" fmla="*/ 3031891 w 3693650"/>
              <a:gd name="connsiteY4" fmla="*/ 4217886 h 5143500"/>
              <a:gd name="connsiteX5" fmla="*/ 2462412 w 3693650"/>
              <a:gd name="connsiteY5" fmla="*/ 4719988 h 5143500"/>
              <a:gd name="connsiteX6" fmla="*/ 752359 w 3693650"/>
              <a:gd name="connsiteY6" fmla="*/ 5143500 h 5143500"/>
              <a:gd name="connsiteX7" fmla="*/ 0 w 3693650"/>
              <a:gd name="connsiteY7" fmla="*/ 3447865 h 5143500"/>
              <a:gd name="connsiteX8" fmla="*/ 327259 w 3693650"/>
              <a:gd name="connsiteY8" fmla="*/ 425100 h 5143500"/>
              <a:gd name="connsiteX0" fmla="*/ 327259 w 3688927"/>
              <a:gd name="connsiteY0" fmla="*/ 425100 h 5143500"/>
              <a:gd name="connsiteX1" fmla="*/ 2244274 w 3688927"/>
              <a:gd name="connsiteY1" fmla="*/ 0 h 5143500"/>
              <a:gd name="connsiteX2" fmla="*/ 3461189 w 3688927"/>
              <a:gd name="connsiteY2" fmla="*/ 1310666 h 5143500"/>
              <a:gd name="connsiteX3" fmla="*/ 3636847 w 3688927"/>
              <a:gd name="connsiteY3" fmla="*/ 2096830 h 5143500"/>
              <a:gd name="connsiteX4" fmla="*/ 3031891 w 3688927"/>
              <a:gd name="connsiteY4" fmla="*/ 4217886 h 5143500"/>
              <a:gd name="connsiteX5" fmla="*/ 2462412 w 3688927"/>
              <a:gd name="connsiteY5" fmla="*/ 4719988 h 5143500"/>
              <a:gd name="connsiteX6" fmla="*/ 752359 w 3688927"/>
              <a:gd name="connsiteY6" fmla="*/ 5143500 h 5143500"/>
              <a:gd name="connsiteX7" fmla="*/ 0 w 3688927"/>
              <a:gd name="connsiteY7" fmla="*/ 3447865 h 5143500"/>
              <a:gd name="connsiteX8" fmla="*/ 327259 w 3688927"/>
              <a:gd name="connsiteY8" fmla="*/ 425100 h 5143500"/>
              <a:gd name="connsiteX0" fmla="*/ 327259 w 3693208"/>
              <a:gd name="connsiteY0" fmla="*/ 425100 h 5143500"/>
              <a:gd name="connsiteX1" fmla="*/ 2244274 w 3693208"/>
              <a:gd name="connsiteY1" fmla="*/ 0 h 5143500"/>
              <a:gd name="connsiteX2" fmla="*/ 3472251 w 3693208"/>
              <a:gd name="connsiteY2" fmla="*/ 1318040 h 5143500"/>
              <a:gd name="connsiteX3" fmla="*/ 3636847 w 3693208"/>
              <a:gd name="connsiteY3" fmla="*/ 2096830 h 5143500"/>
              <a:gd name="connsiteX4" fmla="*/ 3031891 w 3693208"/>
              <a:gd name="connsiteY4" fmla="*/ 4217886 h 5143500"/>
              <a:gd name="connsiteX5" fmla="*/ 2462412 w 3693208"/>
              <a:gd name="connsiteY5" fmla="*/ 4719988 h 5143500"/>
              <a:gd name="connsiteX6" fmla="*/ 752359 w 3693208"/>
              <a:gd name="connsiteY6" fmla="*/ 5143500 h 5143500"/>
              <a:gd name="connsiteX7" fmla="*/ 0 w 3693208"/>
              <a:gd name="connsiteY7" fmla="*/ 3447865 h 5143500"/>
              <a:gd name="connsiteX8" fmla="*/ 327259 w 3693208"/>
              <a:gd name="connsiteY8" fmla="*/ 425100 h 5143500"/>
              <a:gd name="connsiteX0" fmla="*/ 327259 w 3689737"/>
              <a:gd name="connsiteY0" fmla="*/ 425100 h 5143500"/>
              <a:gd name="connsiteX1" fmla="*/ 2244274 w 3689737"/>
              <a:gd name="connsiteY1" fmla="*/ 0 h 5143500"/>
              <a:gd name="connsiteX2" fmla="*/ 3472251 w 3689737"/>
              <a:gd name="connsiteY2" fmla="*/ 1318040 h 5143500"/>
              <a:gd name="connsiteX3" fmla="*/ 3636847 w 3689737"/>
              <a:gd name="connsiteY3" fmla="*/ 2096830 h 5143500"/>
              <a:gd name="connsiteX4" fmla="*/ 3031891 w 3689737"/>
              <a:gd name="connsiteY4" fmla="*/ 4217886 h 5143500"/>
              <a:gd name="connsiteX5" fmla="*/ 2462412 w 3689737"/>
              <a:gd name="connsiteY5" fmla="*/ 4719988 h 5143500"/>
              <a:gd name="connsiteX6" fmla="*/ 752359 w 3689737"/>
              <a:gd name="connsiteY6" fmla="*/ 5143500 h 5143500"/>
              <a:gd name="connsiteX7" fmla="*/ 0 w 3689737"/>
              <a:gd name="connsiteY7" fmla="*/ 3447865 h 5143500"/>
              <a:gd name="connsiteX8" fmla="*/ 327259 w 3689737"/>
              <a:gd name="connsiteY8" fmla="*/ 425100 h 5143500"/>
              <a:gd name="connsiteX0" fmla="*/ 327259 w 3692863"/>
              <a:gd name="connsiteY0" fmla="*/ 425100 h 5143500"/>
              <a:gd name="connsiteX1" fmla="*/ 2244274 w 3692863"/>
              <a:gd name="connsiteY1" fmla="*/ 0 h 5143500"/>
              <a:gd name="connsiteX2" fmla="*/ 3472251 w 3692863"/>
              <a:gd name="connsiteY2" fmla="*/ 1318040 h 5143500"/>
              <a:gd name="connsiteX3" fmla="*/ 3636847 w 3692863"/>
              <a:gd name="connsiteY3" fmla="*/ 2096830 h 5143500"/>
              <a:gd name="connsiteX4" fmla="*/ 3031891 w 3692863"/>
              <a:gd name="connsiteY4" fmla="*/ 4217886 h 5143500"/>
              <a:gd name="connsiteX5" fmla="*/ 2462412 w 3692863"/>
              <a:gd name="connsiteY5" fmla="*/ 4719988 h 5143500"/>
              <a:gd name="connsiteX6" fmla="*/ 752359 w 3692863"/>
              <a:gd name="connsiteY6" fmla="*/ 5143500 h 5143500"/>
              <a:gd name="connsiteX7" fmla="*/ 0 w 3692863"/>
              <a:gd name="connsiteY7" fmla="*/ 3447865 h 5143500"/>
              <a:gd name="connsiteX8" fmla="*/ 327259 w 3692863"/>
              <a:gd name="connsiteY8" fmla="*/ 425100 h 5143500"/>
              <a:gd name="connsiteX0" fmla="*/ 327259 w 3697188"/>
              <a:gd name="connsiteY0" fmla="*/ 425100 h 5143500"/>
              <a:gd name="connsiteX1" fmla="*/ 2244274 w 3697188"/>
              <a:gd name="connsiteY1" fmla="*/ 0 h 5143500"/>
              <a:gd name="connsiteX2" fmla="*/ 3483312 w 3697188"/>
              <a:gd name="connsiteY2" fmla="*/ 1325414 h 5143500"/>
              <a:gd name="connsiteX3" fmla="*/ 3636847 w 3697188"/>
              <a:gd name="connsiteY3" fmla="*/ 2096830 h 5143500"/>
              <a:gd name="connsiteX4" fmla="*/ 3031891 w 3697188"/>
              <a:gd name="connsiteY4" fmla="*/ 4217886 h 5143500"/>
              <a:gd name="connsiteX5" fmla="*/ 2462412 w 3697188"/>
              <a:gd name="connsiteY5" fmla="*/ 4719988 h 5143500"/>
              <a:gd name="connsiteX6" fmla="*/ 752359 w 3697188"/>
              <a:gd name="connsiteY6" fmla="*/ 5143500 h 5143500"/>
              <a:gd name="connsiteX7" fmla="*/ 0 w 3697188"/>
              <a:gd name="connsiteY7" fmla="*/ 3447865 h 5143500"/>
              <a:gd name="connsiteX8" fmla="*/ 327259 w 3697188"/>
              <a:gd name="connsiteY8" fmla="*/ 425100 h 5143500"/>
              <a:gd name="connsiteX0" fmla="*/ 327259 w 3687052"/>
              <a:gd name="connsiteY0" fmla="*/ 425100 h 5143500"/>
              <a:gd name="connsiteX1" fmla="*/ 2244274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63749 w 3423542"/>
              <a:gd name="connsiteY0" fmla="*/ 425100 h 5150874"/>
              <a:gd name="connsiteX1" fmla="*/ 1947580 w 3423542"/>
              <a:gd name="connsiteY1" fmla="*/ 0 h 5150874"/>
              <a:gd name="connsiteX2" fmla="*/ 3219802 w 3423542"/>
              <a:gd name="connsiteY2" fmla="*/ 1325414 h 5150874"/>
              <a:gd name="connsiteX3" fmla="*/ 3373337 w 3423542"/>
              <a:gd name="connsiteY3" fmla="*/ 2096830 h 5150874"/>
              <a:gd name="connsiteX4" fmla="*/ 2749946 w 3423542"/>
              <a:gd name="connsiteY4" fmla="*/ 4225261 h 5150874"/>
              <a:gd name="connsiteX5" fmla="*/ 2198902 w 3423542"/>
              <a:gd name="connsiteY5" fmla="*/ 4719988 h 5150874"/>
              <a:gd name="connsiteX6" fmla="*/ 433542 w 3423542"/>
              <a:gd name="connsiteY6" fmla="*/ 5150874 h 5150874"/>
              <a:gd name="connsiteX7" fmla="*/ 60954 w 3423542"/>
              <a:gd name="connsiteY7" fmla="*/ 5143930 h 5150874"/>
              <a:gd name="connsiteX8" fmla="*/ 63749 w 3423542"/>
              <a:gd name="connsiteY8" fmla="*/ 425100 h 5150874"/>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2795 w 3362588"/>
              <a:gd name="connsiteY0" fmla="*/ 425100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2795 w 3362588"/>
              <a:gd name="connsiteY8" fmla="*/ 425100 h 5147187"/>
              <a:gd name="connsiteX0" fmla="*/ 2795 w 3362588"/>
              <a:gd name="connsiteY0" fmla="*/ 0 h 5160852"/>
              <a:gd name="connsiteX1" fmla="*/ 1886626 w 3362588"/>
              <a:gd name="connsiteY1" fmla="*/ 13665 h 5160852"/>
              <a:gd name="connsiteX2" fmla="*/ 3158848 w 3362588"/>
              <a:gd name="connsiteY2" fmla="*/ 1339079 h 5160852"/>
              <a:gd name="connsiteX3" fmla="*/ 3312383 w 3362588"/>
              <a:gd name="connsiteY3" fmla="*/ 2110495 h 5160852"/>
              <a:gd name="connsiteX4" fmla="*/ 2688992 w 3362588"/>
              <a:gd name="connsiteY4" fmla="*/ 4238926 h 5160852"/>
              <a:gd name="connsiteX5" fmla="*/ 2137948 w 3362588"/>
              <a:gd name="connsiteY5" fmla="*/ 4733653 h 5160852"/>
              <a:gd name="connsiteX6" fmla="*/ 379962 w 3362588"/>
              <a:gd name="connsiteY6" fmla="*/ 5160852 h 5160852"/>
              <a:gd name="connsiteX7" fmla="*/ 0 w 3362588"/>
              <a:gd name="connsiteY7" fmla="*/ 5157595 h 5160852"/>
              <a:gd name="connsiteX8" fmla="*/ 2795 w 3362588"/>
              <a:gd name="connsiteY8" fmla="*/ 0 h 5160852"/>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6482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6482 w 3362588"/>
              <a:gd name="connsiteY8" fmla="*/ 0 h 5149790"/>
              <a:gd name="connsiteX0" fmla="*/ 6482 w 3362588"/>
              <a:gd name="connsiteY0" fmla="*/ 572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6482 w 3362588"/>
              <a:gd name="connsiteY8" fmla="*/ 572 h 5147187"/>
              <a:gd name="connsiteX0" fmla="*/ 132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132 w 3362588"/>
              <a:gd name="connsiteY8" fmla="*/ 3747 h 5147187"/>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3307 w 3362588"/>
              <a:gd name="connsiteY8" fmla="*/ 3747 h 5147187"/>
              <a:gd name="connsiteX0" fmla="*/ 3307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3307 w 3362588"/>
              <a:gd name="connsiteY8" fmla="*/ 0 h 514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2588" h="5149790">
                <a:moveTo>
                  <a:pt x="3307" y="0"/>
                </a:moveTo>
                <a:cubicBezTo>
                  <a:pt x="6994" y="4885"/>
                  <a:pt x="1651850" y="2603"/>
                  <a:pt x="1886626" y="2603"/>
                </a:cubicBezTo>
                <a:lnTo>
                  <a:pt x="3158848" y="1328017"/>
                </a:lnTo>
                <a:cubicBezTo>
                  <a:pt x="3415745" y="1619297"/>
                  <a:pt x="3382438" y="1827787"/>
                  <a:pt x="3312383" y="2099433"/>
                </a:cubicBezTo>
                <a:cubicBezTo>
                  <a:pt x="3139128" y="2654634"/>
                  <a:pt x="2781364" y="3951175"/>
                  <a:pt x="2688992" y="4227864"/>
                </a:cubicBezTo>
                <a:cubicBezTo>
                  <a:pt x="2582066" y="4525320"/>
                  <a:pt x="2475962" y="4619353"/>
                  <a:pt x="2137948" y="4722591"/>
                </a:cubicBezTo>
                <a:lnTo>
                  <a:pt x="379962" y="5149790"/>
                </a:lnTo>
                <a:cubicBezTo>
                  <a:pt x="384848" y="5146103"/>
                  <a:pt x="7374" y="5149022"/>
                  <a:pt x="0" y="5146533"/>
                </a:cubicBezTo>
                <a:cubicBezTo>
                  <a:pt x="3390" y="5151668"/>
                  <a:pt x="3605" y="9614"/>
                  <a:pt x="3307" y="0"/>
                </a:cubicBezTo>
                <a:close/>
              </a:path>
            </a:pathLst>
          </a:custGeom>
        </p:spPr>
        <p:txBody>
          <a:bodyPr anchor="ctr"/>
          <a:lstStyle>
            <a:lvl1pPr algn="ctr">
              <a:defRPr/>
            </a:lvl1pPr>
          </a:lstStyle>
          <a:p>
            <a:endParaRPr lang="en-US"/>
          </a:p>
        </p:txBody>
      </p:sp>
      <p:sp>
        <p:nvSpPr>
          <p:cNvPr id="5" name="Text Placeholder 2"/>
          <p:cNvSpPr>
            <a:spLocks noGrp="1"/>
          </p:cNvSpPr>
          <p:nvPr>
            <p:ph type="body" sz="quarter" idx="11"/>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sp>
        <p:nvSpPr>
          <p:cNvPr id="11" name="Content Placeholder 2"/>
          <p:cNvSpPr>
            <a:spLocks noGrp="1"/>
          </p:cNvSpPr>
          <p:nvPr>
            <p:ph sz="half" idx="12" hasCustomPrompt="1"/>
          </p:nvPr>
        </p:nvSpPr>
        <p:spPr>
          <a:xfrm>
            <a:off x="3594537"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cxnSp>
        <p:nvCxnSpPr>
          <p:cNvPr id="9" name="Straight Connector 8"/>
          <p:cNvCxnSpPr/>
          <p:nvPr userDrawn="1"/>
        </p:nvCxnSpPr>
        <p:spPr>
          <a:xfrm>
            <a:off x="3594537" y="4314112"/>
            <a:ext cx="3806927"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Tree>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SMA Content slide">
    <p:spTree>
      <p:nvGrpSpPr>
        <p:cNvPr id="1" name=""/>
        <p:cNvGrpSpPr/>
        <p:nvPr/>
      </p:nvGrpSpPr>
      <p:grpSpPr>
        <a:xfrm>
          <a:off x="0" y="0"/>
          <a:ext cx="0" cy="0"/>
          <a:chOff x="0" y="0"/>
          <a:chExt cx="0" cy="0"/>
        </a:xfrm>
      </p:grpSpPr>
      <p:sp>
        <p:nvSpPr>
          <p:cNvPr id="6" name="Content Placeholder 13"/>
          <p:cNvSpPr>
            <a:spLocks noGrp="1"/>
          </p:cNvSpPr>
          <p:nvPr>
            <p:ph sz="quarter" idx="14"/>
          </p:nvPr>
        </p:nvSpPr>
        <p:spPr>
          <a:xfrm>
            <a:off x="420688" y="1347614"/>
            <a:ext cx="8183760" cy="3168352"/>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5" name="Slide Number Placeholder 4"/>
          <p:cNvSpPr>
            <a:spLocks noGrp="1"/>
          </p:cNvSpPr>
          <p:nvPr>
            <p:ph type="sldNum" sz="quarter" idx="15"/>
          </p:nvPr>
        </p:nvSpPr>
        <p:spPr/>
        <p:txBody>
          <a:bodyPr/>
          <a:lstStyle/>
          <a:p>
            <a:fld id="{E52D2AFC-71C4-4511-B128-4ECEE52D3027}" type="slidenum">
              <a:rPr lang="en-ZA" smtClean="0"/>
              <a:pPr/>
              <a:t>‹#›</a:t>
            </a:fld>
            <a:endParaRPr lang="en-ZA" dirty="0"/>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40391125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SMA Title and Bullete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544" y="1347614"/>
            <a:ext cx="8128882" cy="3185146"/>
          </a:xfrm>
          <a:prstGeom prst="rect">
            <a:avLst/>
          </a:prstGeom>
        </p:spPr>
        <p:txBody>
          <a:bodyPr/>
          <a:lstStyle>
            <a:lvl1pPr marL="342900" indent="-342900">
              <a:buClr>
                <a:srgbClr val="E30613"/>
              </a:buClr>
              <a:buSzPct val="90000"/>
              <a:buFont typeface="Wingdings" charset="2"/>
              <a:buChar char="§"/>
              <a:defRPr>
                <a:solidFill>
                  <a:schemeClr val="tx2"/>
                </a:solidFill>
              </a:defRPr>
            </a:lvl1pPr>
            <a:lvl2pPr marL="742950" indent="-285750">
              <a:buClr>
                <a:srgbClr val="E30613"/>
              </a:buClr>
              <a:buSzPct val="90000"/>
              <a:buFont typeface="Wingdings" charset="2"/>
              <a:buChar char="§"/>
              <a:defRPr>
                <a:solidFill>
                  <a:schemeClr val="tx2"/>
                </a:solidFill>
              </a:defRPr>
            </a:lvl2pPr>
            <a:lvl3pPr marL="1143000" indent="-228600">
              <a:buClr>
                <a:srgbClr val="E30613"/>
              </a:buClr>
              <a:buSzPct val="90000"/>
              <a:buFont typeface="Wingdings" charset="2"/>
              <a:buChar char="§"/>
              <a:defRPr>
                <a:solidFill>
                  <a:schemeClr val="tx2"/>
                </a:solidFill>
              </a:defRPr>
            </a:lvl3pPr>
            <a:lvl4pPr marL="1600200" indent="-228600">
              <a:buClr>
                <a:srgbClr val="E30613"/>
              </a:buClr>
              <a:buSzPct val="90000"/>
              <a:buFont typeface="Wingdings" charset="2"/>
              <a:buChar char="§"/>
              <a:defRPr>
                <a:solidFill>
                  <a:schemeClr val="tx2"/>
                </a:solidFill>
              </a:defRPr>
            </a:lvl4pPr>
            <a:lvl5pPr marL="2057400" indent="-228600">
              <a:buClr>
                <a:srgbClr val="E30613"/>
              </a:buClr>
              <a:buSzPct val="90000"/>
              <a:buFont typeface="Wingdings" charset="2"/>
              <a:buChar char="§"/>
              <a:defRPr>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Slide Number Placeholder 4"/>
          <p:cNvSpPr>
            <a:spLocks noGrp="1"/>
          </p:cNvSpPr>
          <p:nvPr>
            <p:ph type="sldNum" sz="quarter" idx="15"/>
          </p:nvPr>
        </p:nvSpPr>
        <p:spPr>
          <a:xfrm>
            <a:off x="420688" y="4826858"/>
            <a:ext cx="2133600" cy="273844"/>
          </a:xfrm>
        </p:spPr>
        <p:txBody>
          <a:bodyPr/>
          <a:lstStyle/>
          <a:p>
            <a:fld id="{E52D2AFC-71C4-4511-B128-4ECEE52D3027}" type="slidenum">
              <a:rPr lang="en-ZA" smtClean="0"/>
              <a:pPr/>
              <a:t>‹#›</a:t>
            </a:fld>
            <a:endParaRPr lang="en-ZA" dirty="0"/>
          </a:p>
        </p:txBody>
      </p:sp>
      <p:sp>
        <p:nvSpPr>
          <p:cNvPr id="5"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38272132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SMA Title &amp; Two Column slide">
    <p:spTree>
      <p:nvGrpSpPr>
        <p:cNvPr id="1" name=""/>
        <p:cNvGrpSpPr/>
        <p:nvPr/>
      </p:nvGrpSpPr>
      <p:grpSpPr>
        <a:xfrm>
          <a:off x="0" y="0"/>
          <a:ext cx="0" cy="0"/>
          <a:chOff x="0" y="0"/>
          <a:chExt cx="0" cy="0"/>
        </a:xfrm>
      </p:grpSpPr>
      <p:sp>
        <p:nvSpPr>
          <p:cNvPr id="9" name="Text Placeholder 2"/>
          <p:cNvSpPr>
            <a:spLocks noGrp="1"/>
          </p:cNvSpPr>
          <p:nvPr>
            <p:ph type="body" idx="1"/>
          </p:nvPr>
        </p:nvSpPr>
        <p:spPr>
          <a:xfrm>
            <a:off x="414586" y="1347614"/>
            <a:ext cx="4040188"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Content Placeholder 3"/>
          <p:cNvSpPr>
            <a:spLocks noGrp="1"/>
          </p:cNvSpPr>
          <p:nvPr>
            <p:ph sz="half" idx="2"/>
          </p:nvPr>
        </p:nvSpPr>
        <p:spPr>
          <a:xfrm>
            <a:off x="414586" y="1703165"/>
            <a:ext cx="4040188"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11" name="Text Placeholder 4"/>
          <p:cNvSpPr>
            <a:spLocks noGrp="1"/>
          </p:cNvSpPr>
          <p:nvPr>
            <p:ph type="body" sz="quarter" idx="3"/>
          </p:nvPr>
        </p:nvSpPr>
        <p:spPr>
          <a:xfrm>
            <a:off x="4645026" y="1347614"/>
            <a:ext cx="4041775"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Content Placeholder 5"/>
          <p:cNvSpPr>
            <a:spLocks noGrp="1"/>
          </p:cNvSpPr>
          <p:nvPr>
            <p:ph sz="quarter" idx="4"/>
          </p:nvPr>
        </p:nvSpPr>
        <p:spPr>
          <a:xfrm>
            <a:off x="4645026" y="1703165"/>
            <a:ext cx="4041775"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JM" dirty="0"/>
          </a:p>
        </p:txBody>
      </p:sp>
      <p:sp>
        <p:nvSpPr>
          <p:cNvPr id="2" name="Slide Number Placeholder 1"/>
          <p:cNvSpPr>
            <a:spLocks noGrp="1"/>
          </p:cNvSpPr>
          <p:nvPr>
            <p:ph type="sldNum" sz="quarter" idx="10"/>
          </p:nvPr>
        </p:nvSpPr>
        <p:spPr/>
        <p:txBody>
          <a:bodyPr/>
          <a:lstStyle/>
          <a:p>
            <a:fld id="{E52D2AFC-71C4-4511-B128-4ECEE52D3027}" type="slidenum">
              <a:rPr lang="en-ZA" smtClean="0"/>
              <a:pPr/>
              <a:t>‹#›</a:t>
            </a:fld>
            <a:endParaRPr lang="en-ZA" dirty="0"/>
          </a:p>
        </p:txBody>
      </p:sp>
      <p:sp>
        <p:nvSpPr>
          <p:cNvPr id="8"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6844897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SMA Title &amp; three column slide">
    <p:spTree>
      <p:nvGrpSpPr>
        <p:cNvPr id="1" name=""/>
        <p:cNvGrpSpPr/>
        <p:nvPr/>
      </p:nvGrpSpPr>
      <p:grpSpPr>
        <a:xfrm>
          <a:off x="0" y="0"/>
          <a:ext cx="0" cy="0"/>
          <a:chOff x="0" y="0"/>
          <a:chExt cx="0" cy="0"/>
        </a:xfrm>
      </p:grpSpPr>
      <p:sp>
        <p:nvSpPr>
          <p:cNvPr id="4" name="Content Placeholder 13"/>
          <p:cNvSpPr>
            <a:spLocks noGrp="1"/>
          </p:cNvSpPr>
          <p:nvPr>
            <p:ph sz="quarter" idx="13"/>
          </p:nvPr>
        </p:nvSpPr>
        <p:spPr>
          <a:xfrm>
            <a:off x="433136" y="1716505"/>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 name="Content Placeholder 13"/>
          <p:cNvSpPr>
            <a:spLocks noGrp="1"/>
          </p:cNvSpPr>
          <p:nvPr>
            <p:ph sz="quarter" idx="14"/>
          </p:nvPr>
        </p:nvSpPr>
        <p:spPr>
          <a:xfrm>
            <a:off x="3312694" y="1708484"/>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Content Placeholder 13"/>
          <p:cNvSpPr>
            <a:spLocks noGrp="1"/>
          </p:cNvSpPr>
          <p:nvPr>
            <p:ph sz="quarter" idx="15"/>
          </p:nvPr>
        </p:nvSpPr>
        <p:spPr>
          <a:xfrm>
            <a:off x="6216315" y="1716505"/>
            <a:ext cx="2482680" cy="2904096"/>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8" name="Text Placeholder 4"/>
          <p:cNvSpPr>
            <a:spLocks noGrp="1"/>
          </p:cNvSpPr>
          <p:nvPr>
            <p:ph type="body" sz="quarter" idx="3" hasCustomPrompt="1"/>
          </p:nvPr>
        </p:nvSpPr>
        <p:spPr>
          <a:xfrm>
            <a:off x="443336" y="1419622"/>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9" name="Text Placeholder 4"/>
          <p:cNvSpPr>
            <a:spLocks noGrp="1"/>
          </p:cNvSpPr>
          <p:nvPr>
            <p:ph type="body" sz="quarter" idx="16" hasCustomPrompt="1"/>
          </p:nvPr>
        </p:nvSpPr>
        <p:spPr>
          <a:xfrm>
            <a:off x="3322894" y="1419623"/>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10" name="Text Placeholder 4"/>
          <p:cNvSpPr>
            <a:spLocks noGrp="1"/>
          </p:cNvSpPr>
          <p:nvPr>
            <p:ph type="body" sz="quarter" idx="17" hasCustomPrompt="1"/>
          </p:nvPr>
        </p:nvSpPr>
        <p:spPr>
          <a:xfrm>
            <a:off x="6226515" y="1419622"/>
            <a:ext cx="2472480" cy="288032"/>
          </a:xfrm>
          <a:prstGeom prst="rect">
            <a:avLst/>
          </a:prstGeom>
        </p:spPr>
        <p:txBody>
          <a:bodyPr anchor="t" anchorCtr="0">
            <a:noAutofit/>
          </a:bodyPr>
          <a:lstStyle>
            <a:lvl1pPr marL="0" indent="0">
              <a:buNone/>
              <a:defRPr sz="1400" b="1" baseline="0">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2" name="Slide Number Placeholder 1"/>
          <p:cNvSpPr>
            <a:spLocks noGrp="1"/>
          </p:cNvSpPr>
          <p:nvPr>
            <p:ph type="sldNum" sz="quarter" idx="18"/>
          </p:nvPr>
        </p:nvSpPr>
        <p:spPr/>
        <p:txBody>
          <a:bodyPr/>
          <a:lstStyle/>
          <a:p>
            <a:fld id="{E52D2AFC-71C4-4511-B128-4ECEE52D3027}" type="slidenum">
              <a:rPr lang="en-ZA" smtClean="0"/>
              <a:pPr/>
              <a:t>‹#›</a:t>
            </a:fld>
            <a:endParaRPr lang="en-ZA" dirty="0"/>
          </a:p>
        </p:txBody>
      </p:sp>
      <p:sp>
        <p:nvSpPr>
          <p:cNvPr id="12"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38804638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GSMA Image and Content slide 01">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dirty="0"/>
              <a:t>Click icon to add picture</a:t>
            </a:r>
            <a:endParaRPr lang="en-JM" dirty="0"/>
          </a:p>
        </p:txBody>
      </p:sp>
      <p:sp>
        <p:nvSpPr>
          <p:cNvPr id="8" name="Text Placeholder 5"/>
          <p:cNvSpPr>
            <a:spLocks noGrp="1"/>
          </p:cNvSpPr>
          <p:nvPr>
            <p:ph type="body" sz="quarter" idx="13"/>
          </p:nvPr>
        </p:nvSpPr>
        <p:spPr>
          <a:xfrm>
            <a:off x="427038"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p:txBody>
      </p:sp>
      <p:sp>
        <p:nvSpPr>
          <p:cNvPr id="17" name="Picture Placeholder 24"/>
          <p:cNvSpPr>
            <a:spLocks noGrp="1"/>
          </p:cNvSpPr>
          <p:nvPr>
            <p:ph type="pic" sz="quarter" idx="19"/>
          </p:nvPr>
        </p:nvSpPr>
        <p:spPr>
          <a:xfrm>
            <a:off x="3039979" y="0"/>
            <a:ext cx="3072063" cy="1563637"/>
          </a:xfrm>
          <a:prstGeom prst="rect">
            <a:avLst/>
          </a:prstGeom>
        </p:spPr>
        <p:txBody>
          <a:bodyPr>
            <a:normAutofit/>
          </a:bodyPr>
          <a:lstStyle>
            <a:lvl1pPr marL="0" indent="0">
              <a:buFontTx/>
              <a:buNone/>
              <a:defRPr sz="1600">
                <a:solidFill>
                  <a:schemeClr val="bg1">
                    <a:lumMod val="65000"/>
                  </a:schemeClr>
                </a:solidFill>
              </a:defRPr>
            </a:lvl1pPr>
          </a:lstStyle>
          <a:p>
            <a:r>
              <a:rPr lang="en-US" dirty="0"/>
              <a:t>Click icon to add picture</a:t>
            </a:r>
            <a:endParaRPr lang="en-JM" dirty="0"/>
          </a:p>
        </p:txBody>
      </p:sp>
      <p:sp>
        <p:nvSpPr>
          <p:cNvPr id="18" name="Picture Placeholder 24"/>
          <p:cNvSpPr>
            <a:spLocks noGrp="1"/>
          </p:cNvSpPr>
          <p:nvPr>
            <p:ph type="pic" sz="quarter" idx="20"/>
          </p:nvPr>
        </p:nvSpPr>
        <p:spPr>
          <a:xfrm>
            <a:off x="6107868"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dirty="0"/>
              <a:t>Click icon to add picture</a:t>
            </a:r>
            <a:endParaRPr lang="en-JM" dirty="0"/>
          </a:p>
        </p:txBody>
      </p:sp>
      <p:sp>
        <p:nvSpPr>
          <p:cNvPr id="2" name="Slide Number Placeholder 1"/>
          <p:cNvSpPr>
            <a:spLocks noGrp="1"/>
          </p:cNvSpPr>
          <p:nvPr>
            <p:ph type="sldNum" sz="quarter" idx="21"/>
          </p:nvPr>
        </p:nvSpPr>
        <p:spPr/>
        <p:txBody>
          <a:bodyPr/>
          <a:lstStyle/>
          <a:p>
            <a:fld id="{E52D2AFC-71C4-4511-B128-4ECEE52D3027}" type="slidenum">
              <a:rPr lang="en-ZA" smtClean="0"/>
              <a:pPr/>
              <a:t>‹#›</a:t>
            </a:fld>
            <a:endParaRPr lang="en-ZA" dirty="0"/>
          </a:p>
        </p:txBody>
      </p:sp>
      <p:sp>
        <p:nvSpPr>
          <p:cNvPr id="11" name="Text Placeholder 5"/>
          <p:cNvSpPr>
            <a:spLocks noGrp="1"/>
          </p:cNvSpPr>
          <p:nvPr>
            <p:ph type="body" sz="quarter" idx="22"/>
          </p:nvPr>
        </p:nvSpPr>
        <p:spPr>
          <a:xfrm>
            <a:off x="3419872"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a:t>Click to edit Master text styles</a:t>
            </a:r>
          </a:p>
        </p:txBody>
      </p:sp>
      <p:sp>
        <p:nvSpPr>
          <p:cNvPr id="12" name="Text Placeholder 5"/>
          <p:cNvSpPr>
            <a:spLocks noGrp="1"/>
          </p:cNvSpPr>
          <p:nvPr>
            <p:ph type="body" sz="quarter" idx="23"/>
          </p:nvPr>
        </p:nvSpPr>
        <p:spPr>
          <a:xfrm>
            <a:off x="6444208" y="1851670"/>
            <a:ext cx="2261642"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a:t>Click to edit Master text styles</a:t>
            </a:r>
          </a:p>
        </p:txBody>
      </p:sp>
    </p:spTree>
    <p:extLst>
      <p:ext uri="{BB962C8B-B14F-4D97-AF65-F5344CB8AC3E}">
        <p14:creationId xmlns:p14="http://schemas.microsoft.com/office/powerpoint/2010/main" val="38967433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SMA Image and Content slide 02">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0"/>
            <a:ext cx="3505200" cy="5143499"/>
          </a:xfrm>
          <a:prstGeom prst="rect">
            <a:avLst/>
          </a:prstGeom>
        </p:spPr>
        <p:txBody>
          <a:bodyPr>
            <a:normAutofit/>
          </a:bodyPr>
          <a:lstStyle>
            <a:lvl1pPr marL="0" indent="0">
              <a:buFontTx/>
              <a:buNone/>
              <a:tabLst>
                <a:tab pos="2959100" algn="l"/>
              </a:tabLst>
              <a:defRPr sz="1600">
                <a:solidFill>
                  <a:schemeClr val="bg1">
                    <a:lumMod val="65000"/>
                  </a:schemeClr>
                </a:solidFill>
              </a:defRPr>
            </a:lvl1pPr>
          </a:lstStyle>
          <a:p>
            <a:r>
              <a:rPr lang="en-US" dirty="0"/>
              <a:t>Click icon to add picture</a:t>
            </a:r>
            <a:endParaRPr lang="en-JM" dirty="0"/>
          </a:p>
        </p:txBody>
      </p:sp>
      <p:sp>
        <p:nvSpPr>
          <p:cNvPr id="4" name="Text Placeholder 5"/>
          <p:cNvSpPr>
            <a:spLocks noGrp="1"/>
          </p:cNvSpPr>
          <p:nvPr>
            <p:ph type="body" sz="quarter" idx="13"/>
          </p:nvPr>
        </p:nvSpPr>
        <p:spPr>
          <a:xfrm>
            <a:off x="4067944" y="843558"/>
            <a:ext cx="4618855" cy="3048000"/>
          </a:xfrm>
          <a:prstGeom prst="rect">
            <a:avLst/>
          </a:prstGeom>
        </p:spPr>
        <p:txBody>
          <a:bodyPr>
            <a:normAutofit/>
          </a:bodyPr>
          <a:lstStyle>
            <a:lvl1pPr marL="342900" indent="-342900">
              <a:lnSpc>
                <a:spcPct val="120000"/>
              </a:lnSpc>
              <a:buClr>
                <a:srgbClr val="E30613"/>
              </a:buClr>
              <a:buSzPct val="90000"/>
              <a:buFont typeface="Wingdings" charset="2"/>
              <a:buChar char="§"/>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p:txBody>
      </p:sp>
      <p:sp>
        <p:nvSpPr>
          <p:cNvPr id="2" name="Rectangle 1"/>
          <p:cNvSpPr/>
          <p:nvPr userDrawn="1"/>
        </p:nvSpPr>
        <p:spPr>
          <a:xfrm>
            <a:off x="395536" y="4659982"/>
            <a:ext cx="8352928"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 name="Rectangle 4"/>
          <p:cNvSpPr/>
          <p:nvPr userDrawn="1"/>
        </p:nvSpPr>
        <p:spPr>
          <a:xfrm>
            <a:off x="4067174" y="4711700"/>
            <a:ext cx="1512887"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Rectangle 5"/>
          <p:cNvSpPr/>
          <p:nvPr userDrawn="1"/>
        </p:nvSpPr>
        <p:spPr>
          <a:xfrm>
            <a:off x="5580062" y="4711700"/>
            <a:ext cx="1595437"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7" name="Rectangle 6"/>
          <p:cNvSpPr/>
          <p:nvPr userDrawn="1"/>
        </p:nvSpPr>
        <p:spPr>
          <a:xfrm>
            <a:off x="7164387" y="4711700"/>
            <a:ext cx="1600423"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14326307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0326" y="2023009"/>
            <a:ext cx="7274741" cy="1387432"/>
          </a:xfrm>
          <a:prstGeom prst="rect">
            <a:avLst/>
          </a:prstGeom>
        </p:spPr>
        <p:txBody>
          <a:bodyPr anchor="b"/>
          <a:lstStyle>
            <a:lvl1pPr algn="l">
              <a:defRPr sz="4400" b="1" i="0" baseline="0">
                <a:solidFill>
                  <a:schemeClr val="bg1"/>
                </a:solidFill>
                <a:latin typeface="Arial" charset="0"/>
                <a:ea typeface="Arial" charset="0"/>
                <a:cs typeface="Arial" charset="0"/>
              </a:defRPr>
            </a:lvl1pPr>
          </a:lstStyle>
          <a:p>
            <a:r>
              <a:rPr lang="en-US" dirty="0"/>
              <a:t>Section or Chapter Title Template</a:t>
            </a:r>
          </a:p>
        </p:txBody>
      </p:sp>
    </p:spTree>
    <p:extLst>
      <p:ext uri="{BB962C8B-B14F-4D97-AF65-F5344CB8AC3E}">
        <p14:creationId xmlns:p14="http://schemas.microsoft.com/office/powerpoint/2010/main" val="14929026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SMA Image slide 01">
    <p:spTree>
      <p:nvGrpSpPr>
        <p:cNvPr id="1" name=""/>
        <p:cNvGrpSpPr/>
        <p:nvPr/>
      </p:nvGrpSpPr>
      <p:grpSpPr>
        <a:xfrm>
          <a:off x="0" y="0"/>
          <a:ext cx="0" cy="0"/>
          <a:chOff x="0" y="0"/>
          <a:chExt cx="0" cy="0"/>
        </a:xfrm>
      </p:grpSpPr>
      <p:sp>
        <p:nvSpPr>
          <p:cNvPr id="9" name="Picture Placeholder 16"/>
          <p:cNvSpPr>
            <a:spLocks noGrp="1"/>
          </p:cNvSpPr>
          <p:nvPr>
            <p:ph type="pic" sz="quarter" idx="59"/>
          </p:nvPr>
        </p:nvSpPr>
        <p:spPr>
          <a:xfrm>
            <a:off x="0" y="1253250"/>
            <a:ext cx="4572000" cy="3890250"/>
          </a:xfrm>
          <a:prstGeom prst="rect">
            <a:avLst/>
          </a:prstGeom>
        </p:spPr>
        <p:txBody>
          <a:bodyPr/>
          <a:lstStyle/>
          <a:p>
            <a:r>
              <a:rPr lang="en-US" dirty="0"/>
              <a:t>Click icon to add picture</a:t>
            </a:r>
            <a:endParaRPr lang="en-JM" dirty="0"/>
          </a:p>
        </p:txBody>
      </p:sp>
      <p:sp>
        <p:nvSpPr>
          <p:cNvPr id="10" name="Picture Placeholder 16"/>
          <p:cNvSpPr>
            <a:spLocks noGrp="1"/>
          </p:cNvSpPr>
          <p:nvPr>
            <p:ph type="pic" sz="quarter" idx="60"/>
          </p:nvPr>
        </p:nvSpPr>
        <p:spPr>
          <a:xfrm>
            <a:off x="4572000" y="1253250"/>
            <a:ext cx="4572000" cy="3890250"/>
          </a:xfrm>
          <a:prstGeom prst="rect">
            <a:avLst/>
          </a:prstGeom>
        </p:spPr>
        <p:txBody>
          <a:bodyPr/>
          <a:lstStyle/>
          <a:p>
            <a:r>
              <a:rPr lang="en-US" dirty="0"/>
              <a:t>Click icon to add picture</a:t>
            </a:r>
            <a:endParaRPr lang="en-JM" dirty="0"/>
          </a:p>
        </p:txBody>
      </p:sp>
      <p:sp>
        <p:nvSpPr>
          <p:cNvPr id="2" name="Slide Number Placeholder 1"/>
          <p:cNvSpPr>
            <a:spLocks noGrp="1"/>
          </p:cNvSpPr>
          <p:nvPr>
            <p:ph type="sldNum" sz="quarter" idx="61"/>
          </p:nvPr>
        </p:nvSpPr>
        <p:spPr/>
        <p:txBody>
          <a:bodyPr/>
          <a:lstStyle/>
          <a:p>
            <a:fld id="{E52D2AFC-71C4-4511-B128-4ECEE52D3027}" type="slidenum">
              <a:rPr lang="en-ZA" smtClean="0"/>
              <a:pPr/>
              <a:t>‹#›</a:t>
            </a:fld>
            <a:endParaRPr lang="en-ZA" dirty="0"/>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32306505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SMA Image slide 02">
    <p:spTree>
      <p:nvGrpSpPr>
        <p:cNvPr id="1" name=""/>
        <p:cNvGrpSpPr/>
        <p:nvPr/>
      </p:nvGrpSpPr>
      <p:grpSpPr>
        <a:xfrm>
          <a:off x="0" y="0"/>
          <a:ext cx="0" cy="0"/>
          <a:chOff x="0" y="0"/>
          <a:chExt cx="0" cy="0"/>
        </a:xfrm>
      </p:grpSpPr>
      <p:sp>
        <p:nvSpPr>
          <p:cNvPr id="3" name="Picture Placeholder 16"/>
          <p:cNvSpPr>
            <a:spLocks noGrp="1"/>
          </p:cNvSpPr>
          <p:nvPr>
            <p:ph type="pic" sz="quarter" idx="59"/>
          </p:nvPr>
        </p:nvSpPr>
        <p:spPr>
          <a:xfrm>
            <a:off x="155631" y="123478"/>
            <a:ext cx="3330575" cy="2088232"/>
          </a:xfrm>
          <a:prstGeom prst="rect">
            <a:avLst/>
          </a:prstGeom>
        </p:spPr>
        <p:txBody>
          <a:bodyPr/>
          <a:lstStyle/>
          <a:p>
            <a:r>
              <a:rPr lang="en-US" dirty="0"/>
              <a:t>Click icon to add picture</a:t>
            </a:r>
            <a:endParaRPr lang="en-JM" dirty="0"/>
          </a:p>
        </p:txBody>
      </p:sp>
      <p:sp>
        <p:nvSpPr>
          <p:cNvPr id="4" name="Picture Placeholder 16"/>
          <p:cNvSpPr>
            <a:spLocks noGrp="1"/>
          </p:cNvSpPr>
          <p:nvPr>
            <p:ph type="pic" sz="quarter" idx="60"/>
          </p:nvPr>
        </p:nvSpPr>
        <p:spPr>
          <a:xfrm>
            <a:off x="155631" y="2355726"/>
            <a:ext cx="3330575" cy="2232248"/>
          </a:xfrm>
          <a:prstGeom prst="rect">
            <a:avLst/>
          </a:prstGeom>
        </p:spPr>
        <p:txBody>
          <a:bodyPr/>
          <a:lstStyle/>
          <a:p>
            <a:r>
              <a:rPr lang="en-US" dirty="0"/>
              <a:t>Click icon to add picture</a:t>
            </a:r>
            <a:endParaRPr lang="en-JM" dirty="0"/>
          </a:p>
        </p:txBody>
      </p:sp>
      <p:sp>
        <p:nvSpPr>
          <p:cNvPr id="5" name="Picture Placeholder 16"/>
          <p:cNvSpPr>
            <a:spLocks noGrp="1"/>
          </p:cNvSpPr>
          <p:nvPr>
            <p:ph type="pic" sz="quarter" idx="61"/>
          </p:nvPr>
        </p:nvSpPr>
        <p:spPr>
          <a:xfrm>
            <a:off x="3633538" y="123478"/>
            <a:ext cx="2714782" cy="4464496"/>
          </a:xfrm>
          <a:prstGeom prst="rect">
            <a:avLst/>
          </a:prstGeom>
        </p:spPr>
        <p:txBody>
          <a:bodyPr/>
          <a:lstStyle/>
          <a:p>
            <a:r>
              <a:rPr lang="en-US" dirty="0"/>
              <a:t>Click icon to add picture</a:t>
            </a:r>
            <a:endParaRPr lang="en-JM" dirty="0"/>
          </a:p>
        </p:txBody>
      </p:sp>
      <p:sp>
        <p:nvSpPr>
          <p:cNvPr id="6" name="Picture Placeholder 16"/>
          <p:cNvSpPr>
            <a:spLocks noGrp="1"/>
          </p:cNvSpPr>
          <p:nvPr>
            <p:ph type="pic" sz="quarter" idx="62"/>
          </p:nvPr>
        </p:nvSpPr>
        <p:spPr>
          <a:xfrm>
            <a:off x="6492335" y="123478"/>
            <a:ext cx="2538487" cy="1368152"/>
          </a:xfrm>
          <a:prstGeom prst="rect">
            <a:avLst/>
          </a:prstGeom>
        </p:spPr>
        <p:txBody>
          <a:bodyPr/>
          <a:lstStyle/>
          <a:p>
            <a:r>
              <a:rPr lang="en-US" dirty="0"/>
              <a:t>Click icon to add picture</a:t>
            </a:r>
            <a:endParaRPr lang="en-JM" dirty="0"/>
          </a:p>
        </p:txBody>
      </p:sp>
      <p:sp>
        <p:nvSpPr>
          <p:cNvPr id="7" name="Picture Placeholder 16"/>
          <p:cNvSpPr>
            <a:spLocks noGrp="1"/>
          </p:cNvSpPr>
          <p:nvPr>
            <p:ph type="pic" sz="quarter" idx="63"/>
          </p:nvPr>
        </p:nvSpPr>
        <p:spPr>
          <a:xfrm>
            <a:off x="6492335" y="1635646"/>
            <a:ext cx="2538487" cy="1440160"/>
          </a:xfrm>
          <a:prstGeom prst="rect">
            <a:avLst/>
          </a:prstGeom>
        </p:spPr>
        <p:txBody>
          <a:bodyPr/>
          <a:lstStyle/>
          <a:p>
            <a:r>
              <a:rPr lang="en-US" dirty="0"/>
              <a:t>Click icon to add picture</a:t>
            </a:r>
            <a:endParaRPr lang="en-JM" dirty="0"/>
          </a:p>
        </p:txBody>
      </p:sp>
      <p:sp>
        <p:nvSpPr>
          <p:cNvPr id="8" name="Picture Placeholder 16"/>
          <p:cNvSpPr>
            <a:spLocks noGrp="1"/>
          </p:cNvSpPr>
          <p:nvPr>
            <p:ph type="pic" sz="quarter" idx="64"/>
          </p:nvPr>
        </p:nvSpPr>
        <p:spPr>
          <a:xfrm>
            <a:off x="6492335" y="3219822"/>
            <a:ext cx="2538487" cy="1368152"/>
          </a:xfrm>
          <a:prstGeom prst="rect">
            <a:avLst/>
          </a:prstGeom>
        </p:spPr>
        <p:txBody>
          <a:bodyPr/>
          <a:lstStyle/>
          <a:p>
            <a:r>
              <a:rPr lang="en-US" dirty="0"/>
              <a:t>Click icon to add picture</a:t>
            </a:r>
            <a:endParaRPr lang="en-JM" dirty="0"/>
          </a:p>
        </p:txBody>
      </p:sp>
      <p:sp>
        <p:nvSpPr>
          <p:cNvPr id="2" name="Slide Number Placeholder 1"/>
          <p:cNvSpPr>
            <a:spLocks noGrp="1"/>
          </p:cNvSpPr>
          <p:nvPr>
            <p:ph type="sldNum" sz="quarter" idx="65"/>
          </p:nvPr>
        </p:nvSpPr>
        <p:spPr/>
        <p:txBody>
          <a:bodyPr/>
          <a:lstStyle/>
          <a:p>
            <a:fld id="{E52D2AFC-71C4-4511-B128-4ECEE52D3027}" type="slidenum">
              <a:rPr lang="en-ZA" smtClean="0"/>
              <a:pPr/>
              <a:t>‹#›</a:t>
            </a:fld>
            <a:endParaRPr lang="en-ZA" dirty="0"/>
          </a:p>
        </p:txBody>
      </p:sp>
    </p:spTree>
    <p:extLst>
      <p:ext uri="{BB962C8B-B14F-4D97-AF65-F5344CB8AC3E}">
        <p14:creationId xmlns:p14="http://schemas.microsoft.com/office/powerpoint/2010/main" val="6187493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SMA Image slide 03">
    <p:spTree>
      <p:nvGrpSpPr>
        <p:cNvPr id="1" name=""/>
        <p:cNvGrpSpPr/>
        <p:nvPr/>
      </p:nvGrpSpPr>
      <p:grpSpPr>
        <a:xfrm>
          <a:off x="0" y="0"/>
          <a:ext cx="0" cy="0"/>
          <a:chOff x="0" y="0"/>
          <a:chExt cx="0" cy="0"/>
        </a:xfrm>
      </p:grpSpPr>
      <p:sp>
        <p:nvSpPr>
          <p:cNvPr id="6" name="Picture Placeholder 16"/>
          <p:cNvSpPr>
            <a:spLocks noGrp="1"/>
          </p:cNvSpPr>
          <p:nvPr>
            <p:ph type="pic" sz="quarter" idx="59"/>
          </p:nvPr>
        </p:nvSpPr>
        <p:spPr>
          <a:xfrm>
            <a:off x="0" y="1253250"/>
            <a:ext cx="9144000" cy="3890249"/>
          </a:xfrm>
          <a:prstGeom prst="rect">
            <a:avLst/>
          </a:prstGeom>
        </p:spPr>
        <p:txBody>
          <a:bodyPr/>
          <a:lstStyle/>
          <a:p>
            <a:r>
              <a:rPr lang="en-US" dirty="0"/>
              <a:t>Click icon to add picture</a:t>
            </a:r>
            <a:endParaRPr lang="en-JM" dirty="0"/>
          </a:p>
        </p:txBody>
      </p:sp>
      <p:sp>
        <p:nvSpPr>
          <p:cNvPr id="2" name="Slide Number Placeholder 1"/>
          <p:cNvSpPr>
            <a:spLocks noGrp="1"/>
          </p:cNvSpPr>
          <p:nvPr>
            <p:ph type="sldNum" sz="quarter" idx="60"/>
          </p:nvPr>
        </p:nvSpPr>
        <p:spPr/>
        <p:txBody>
          <a:bodyPr/>
          <a:lstStyle/>
          <a:p>
            <a:fld id="{E52D2AFC-71C4-4511-B128-4ECEE52D3027}" type="slidenum">
              <a:rPr lang="en-ZA" smtClean="0"/>
              <a:pPr/>
              <a:t>‹#›</a:t>
            </a:fld>
            <a:endParaRPr lang="en-ZA" dirty="0"/>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30474842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SMA Bar Chart slide">
    <p:spTree>
      <p:nvGrpSpPr>
        <p:cNvPr id="1" name=""/>
        <p:cNvGrpSpPr/>
        <p:nvPr/>
      </p:nvGrpSpPr>
      <p:grpSpPr>
        <a:xfrm>
          <a:off x="0" y="0"/>
          <a:ext cx="0" cy="0"/>
          <a:chOff x="0" y="0"/>
          <a:chExt cx="0" cy="0"/>
        </a:xfrm>
      </p:grpSpPr>
      <p:sp>
        <p:nvSpPr>
          <p:cNvPr id="28" name="Content Placeholder 13"/>
          <p:cNvSpPr>
            <a:spLocks noGrp="1"/>
          </p:cNvSpPr>
          <p:nvPr>
            <p:ph sz="quarter" idx="13"/>
          </p:nvPr>
        </p:nvSpPr>
        <p:spPr>
          <a:xfrm>
            <a:off x="422895" y="2025030"/>
            <a:ext cx="2362200" cy="2266950"/>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Content Placeholder 38"/>
          <p:cNvSpPr>
            <a:spLocks noGrp="1"/>
          </p:cNvSpPr>
          <p:nvPr>
            <p:ph sz="quarter" idx="39"/>
          </p:nvPr>
        </p:nvSpPr>
        <p:spPr>
          <a:xfrm>
            <a:off x="422895" y="1491630"/>
            <a:ext cx="1984248" cy="347472"/>
          </a:xfrm>
          <a:prstGeom prst="rect">
            <a:avLst/>
          </a:prstGeom>
          <a:noFill/>
          <a:ln>
            <a:noFill/>
          </a:ln>
        </p:spPr>
        <p:txBody>
          <a:bodyPr anchor="t" anchorCtr="0">
            <a:noAutofit/>
          </a:bodyPr>
          <a:lstStyle>
            <a:lvl1pPr algn="l">
              <a:buNone/>
              <a:defRPr sz="1400" b="1"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edit Master text styles</a:t>
            </a:r>
          </a:p>
        </p:txBody>
      </p:sp>
      <p:sp>
        <p:nvSpPr>
          <p:cNvPr id="30" name="Content Placeholder 13"/>
          <p:cNvSpPr>
            <a:spLocks noGrp="1"/>
          </p:cNvSpPr>
          <p:nvPr>
            <p:ph sz="quarter" idx="42"/>
          </p:nvPr>
        </p:nvSpPr>
        <p:spPr>
          <a:xfrm>
            <a:off x="3361928" y="2025030"/>
            <a:ext cx="2362200" cy="2266950"/>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1" name="Content Placeholder 13"/>
          <p:cNvSpPr>
            <a:spLocks noGrp="1"/>
          </p:cNvSpPr>
          <p:nvPr>
            <p:ph sz="quarter" idx="43"/>
          </p:nvPr>
        </p:nvSpPr>
        <p:spPr>
          <a:xfrm>
            <a:off x="6324600" y="2034555"/>
            <a:ext cx="2362200" cy="2266950"/>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32" name="Content Placeholder 38"/>
          <p:cNvSpPr>
            <a:spLocks noGrp="1"/>
          </p:cNvSpPr>
          <p:nvPr>
            <p:ph sz="quarter" idx="60"/>
          </p:nvPr>
        </p:nvSpPr>
        <p:spPr>
          <a:xfrm>
            <a:off x="3361928" y="1491630"/>
            <a:ext cx="1984248" cy="347472"/>
          </a:xfrm>
          <a:prstGeom prst="rect">
            <a:avLst/>
          </a:prstGeom>
          <a:noFill/>
          <a:ln>
            <a:noFill/>
          </a:ln>
        </p:spPr>
        <p:txBody>
          <a:bodyPr anchor="t" anchorCtr="0">
            <a:noAutofit/>
          </a:bodyPr>
          <a:lstStyle>
            <a:lvl1pPr algn="l">
              <a:buNone/>
              <a:defRPr sz="1400" b="1"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edit Master text styles</a:t>
            </a:r>
          </a:p>
        </p:txBody>
      </p:sp>
      <p:sp>
        <p:nvSpPr>
          <p:cNvPr id="33" name="Content Placeholder 38"/>
          <p:cNvSpPr>
            <a:spLocks noGrp="1"/>
          </p:cNvSpPr>
          <p:nvPr>
            <p:ph sz="quarter" idx="61"/>
          </p:nvPr>
        </p:nvSpPr>
        <p:spPr>
          <a:xfrm>
            <a:off x="6324600" y="1501155"/>
            <a:ext cx="1984248" cy="347472"/>
          </a:xfrm>
          <a:prstGeom prst="rect">
            <a:avLst/>
          </a:prstGeom>
          <a:noFill/>
          <a:ln>
            <a:noFill/>
          </a:ln>
        </p:spPr>
        <p:txBody>
          <a:bodyPr anchor="t" anchorCtr="0">
            <a:noAutofit/>
          </a:bodyPr>
          <a:lstStyle>
            <a:lvl1pPr algn="l">
              <a:buNone/>
              <a:defRPr sz="1400" b="1"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edit Master text styles</a:t>
            </a:r>
          </a:p>
        </p:txBody>
      </p:sp>
      <p:cxnSp>
        <p:nvCxnSpPr>
          <p:cNvPr id="34" name="Straight Connector 33"/>
          <p:cNvCxnSpPr/>
          <p:nvPr/>
        </p:nvCxnSpPr>
        <p:spPr>
          <a:xfrm>
            <a:off x="3059832" y="1841361"/>
            <a:ext cx="0" cy="1752600"/>
          </a:xfrm>
          <a:prstGeom prst="line">
            <a:avLst/>
          </a:prstGeom>
          <a:ln w="12700" cap="rnd" cmpd="sng">
            <a:solidFill>
              <a:schemeClr val="bg1">
                <a:lumMod val="65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6012160" y="1850886"/>
            <a:ext cx="0" cy="1752600"/>
          </a:xfrm>
          <a:prstGeom prst="line">
            <a:avLst/>
          </a:prstGeom>
          <a:ln w="12700" cap="rnd" cmpd="sng">
            <a:solidFill>
              <a:schemeClr val="bg1">
                <a:lumMod val="65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2" name="Slide Number Placeholder 1"/>
          <p:cNvSpPr>
            <a:spLocks noGrp="1"/>
          </p:cNvSpPr>
          <p:nvPr>
            <p:ph type="sldNum" sz="quarter" idx="62"/>
          </p:nvPr>
        </p:nvSpPr>
        <p:spPr/>
        <p:txBody>
          <a:bodyPr/>
          <a:lstStyle/>
          <a:p>
            <a:fld id="{E52D2AFC-71C4-4511-B128-4ECEE52D3027}" type="slidenum">
              <a:rPr lang="en-ZA" smtClean="0"/>
              <a:pPr/>
              <a:t>‹#›</a:t>
            </a:fld>
            <a:endParaRPr lang="en-ZA" dirty="0"/>
          </a:p>
        </p:txBody>
      </p:sp>
      <p:sp>
        <p:nvSpPr>
          <p:cNvPr id="13"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10739241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SMA Line Graph">
    <p:spTree>
      <p:nvGrpSpPr>
        <p:cNvPr id="1" name=""/>
        <p:cNvGrpSpPr/>
        <p:nvPr/>
      </p:nvGrpSpPr>
      <p:grpSpPr>
        <a:xfrm>
          <a:off x="0" y="0"/>
          <a:ext cx="0" cy="0"/>
          <a:chOff x="0" y="0"/>
          <a:chExt cx="0" cy="0"/>
        </a:xfrm>
      </p:grpSpPr>
      <p:sp>
        <p:nvSpPr>
          <p:cNvPr id="3" name="Content Placeholder 13"/>
          <p:cNvSpPr>
            <a:spLocks noGrp="1"/>
          </p:cNvSpPr>
          <p:nvPr>
            <p:ph sz="quarter" idx="13"/>
          </p:nvPr>
        </p:nvSpPr>
        <p:spPr>
          <a:xfrm>
            <a:off x="427038" y="1347614"/>
            <a:ext cx="8249418" cy="3096344"/>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2" name="Slide Number Placeholder 1"/>
          <p:cNvSpPr>
            <a:spLocks noGrp="1"/>
          </p:cNvSpPr>
          <p:nvPr>
            <p:ph type="sldNum" sz="quarter" idx="14"/>
          </p:nvPr>
        </p:nvSpPr>
        <p:spPr/>
        <p:txBody>
          <a:bodyPr/>
          <a:lstStyle/>
          <a:p>
            <a:fld id="{E52D2AFC-71C4-4511-B128-4ECEE52D3027}" type="slidenum">
              <a:rPr lang="en-ZA" smtClean="0"/>
              <a:pPr/>
              <a:t>‹#›</a:t>
            </a:fld>
            <a:endParaRPr lang="en-ZA" dirty="0"/>
          </a:p>
        </p:txBody>
      </p:sp>
      <p:sp>
        <p:nvSpPr>
          <p:cNvPr id="6"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4421051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SMA Table Slide">
    <p:spTree>
      <p:nvGrpSpPr>
        <p:cNvPr id="1" name=""/>
        <p:cNvGrpSpPr/>
        <p:nvPr/>
      </p:nvGrpSpPr>
      <p:grpSpPr>
        <a:xfrm>
          <a:off x="0" y="0"/>
          <a:ext cx="0" cy="0"/>
          <a:chOff x="0" y="0"/>
          <a:chExt cx="0" cy="0"/>
        </a:xfrm>
      </p:grpSpPr>
      <p:sp>
        <p:nvSpPr>
          <p:cNvPr id="5" name="Content Placeholder 13"/>
          <p:cNvSpPr>
            <a:spLocks noGrp="1"/>
          </p:cNvSpPr>
          <p:nvPr>
            <p:ph sz="quarter" idx="13"/>
          </p:nvPr>
        </p:nvSpPr>
        <p:spPr>
          <a:xfrm>
            <a:off x="420688" y="1802018"/>
            <a:ext cx="8255768" cy="2713948"/>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6" name="Content Placeholder 13"/>
          <p:cNvSpPr>
            <a:spLocks noGrp="1"/>
          </p:cNvSpPr>
          <p:nvPr>
            <p:ph sz="quarter" idx="60"/>
          </p:nvPr>
        </p:nvSpPr>
        <p:spPr>
          <a:xfrm>
            <a:off x="420688" y="1347614"/>
            <a:ext cx="8255768" cy="360040"/>
          </a:xfrm>
          <a:prstGeom prst="rect">
            <a:avLst/>
          </a:prstGeom>
        </p:spPr>
        <p:txBody>
          <a:bodyPr>
            <a:normAutofit/>
          </a:bodyPr>
          <a:lstStyle>
            <a:lvl1pPr algn="l">
              <a:buNone/>
              <a:defRPr sz="1400" b="1" i="0">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2" name="Slide Number Placeholder 1"/>
          <p:cNvSpPr>
            <a:spLocks noGrp="1"/>
          </p:cNvSpPr>
          <p:nvPr>
            <p:ph type="sldNum" sz="quarter" idx="61"/>
          </p:nvPr>
        </p:nvSpPr>
        <p:spPr/>
        <p:txBody>
          <a:bodyPr/>
          <a:lstStyle/>
          <a:p>
            <a:fld id="{E52D2AFC-71C4-4511-B128-4ECEE52D3027}" type="slidenum">
              <a:rPr lang="en-ZA" smtClean="0"/>
              <a:pPr/>
              <a:t>‹#›</a:t>
            </a:fld>
            <a:endParaRPr lang="en-ZA" dirty="0"/>
          </a:p>
        </p:txBody>
      </p:sp>
      <p:sp>
        <p:nvSpPr>
          <p:cNvPr id="8"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6364617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Full Page RED 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9144000" cy="5143500"/>
          </a:xfrm>
          <a:prstGeom prst="rect">
            <a:avLst/>
          </a:prstGeom>
        </p:spPr>
        <p:txBody>
          <a:bodyPr vert="horz"/>
          <a:lstStyle/>
          <a:p>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8" name="Title 1"/>
          <p:cNvSpPr>
            <a:spLocks noGrp="1"/>
          </p:cNvSpPr>
          <p:nvPr>
            <p:ph type="ctrTitle"/>
          </p:nvPr>
        </p:nvSpPr>
        <p:spPr>
          <a:xfrm>
            <a:off x="2392680" y="2210400"/>
            <a:ext cx="6243320" cy="636587"/>
          </a:xfrm>
          <a:prstGeom prst="rect">
            <a:avLst/>
          </a:prstGeom>
        </p:spPr>
        <p:txBody>
          <a:bodyPr/>
          <a:lstStyle>
            <a:lvl1pPr algn="l">
              <a:defRPr sz="3200">
                <a:solidFill>
                  <a:srgbClr val="FFFFFF"/>
                </a:solidFill>
              </a:defRPr>
            </a:lvl1pPr>
          </a:lstStyle>
          <a:p>
            <a:r>
              <a:rPr lang="en-GB" dirty="0"/>
              <a:t>Click to edit Master title style</a:t>
            </a:r>
            <a:endParaRPr lang="en-US" dirty="0"/>
          </a:p>
        </p:txBody>
      </p:sp>
      <p:sp>
        <p:nvSpPr>
          <p:cNvPr id="9" name="Subtitle 2"/>
          <p:cNvSpPr>
            <a:spLocks noGrp="1"/>
          </p:cNvSpPr>
          <p:nvPr>
            <p:ph type="subTitle" idx="1"/>
          </p:nvPr>
        </p:nvSpPr>
        <p:spPr>
          <a:xfrm>
            <a:off x="2394000" y="2847600"/>
            <a:ext cx="6233160" cy="1314450"/>
          </a:xfrm>
          <a:prstGeom prst="rect">
            <a:avLst/>
          </a:prstGeom>
        </p:spPr>
        <p:txBody>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endParaRPr lang="en-US" dirty="0"/>
          </a:p>
        </p:txBody>
      </p:sp>
    </p:spTree>
    <p:extLst>
      <p:ext uri="{BB962C8B-B14F-4D97-AF65-F5344CB8AC3E}">
        <p14:creationId xmlns:p14="http://schemas.microsoft.com/office/powerpoint/2010/main" val="912783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GSMA Image 03 slide">
    <p:spTree>
      <p:nvGrpSpPr>
        <p:cNvPr id="1" name=""/>
        <p:cNvGrpSpPr/>
        <p:nvPr/>
      </p:nvGrpSpPr>
      <p:grpSpPr>
        <a:xfrm>
          <a:off x="0" y="0"/>
          <a:ext cx="0" cy="0"/>
          <a:chOff x="0" y="0"/>
          <a:chExt cx="0" cy="0"/>
        </a:xfrm>
      </p:grpSpPr>
      <p:sp>
        <p:nvSpPr>
          <p:cNvPr id="3" name="Picture Placeholder 16"/>
          <p:cNvSpPr>
            <a:spLocks noGrp="1"/>
          </p:cNvSpPr>
          <p:nvPr>
            <p:ph type="pic" sz="quarter" idx="59"/>
          </p:nvPr>
        </p:nvSpPr>
        <p:spPr>
          <a:xfrm>
            <a:off x="155631" y="123478"/>
            <a:ext cx="3330575" cy="2088232"/>
          </a:xfrm>
          <a:prstGeom prst="rect">
            <a:avLst/>
          </a:prstGeom>
        </p:spPr>
        <p:txBody>
          <a:bodyPr/>
          <a:lstStyle/>
          <a:p>
            <a:r>
              <a:rPr lang="en-US" dirty="0"/>
              <a:t>Click icon to add picture</a:t>
            </a:r>
            <a:endParaRPr lang="en-JM" dirty="0"/>
          </a:p>
        </p:txBody>
      </p:sp>
      <p:sp>
        <p:nvSpPr>
          <p:cNvPr id="4" name="Picture Placeholder 16"/>
          <p:cNvSpPr>
            <a:spLocks noGrp="1"/>
          </p:cNvSpPr>
          <p:nvPr>
            <p:ph type="pic" sz="quarter" idx="60"/>
          </p:nvPr>
        </p:nvSpPr>
        <p:spPr>
          <a:xfrm>
            <a:off x="155631" y="2355726"/>
            <a:ext cx="3330575" cy="2232248"/>
          </a:xfrm>
          <a:prstGeom prst="rect">
            <a:avLst/>
          </a:prstGeom>
        </p:spPr>
        <p:txBody>
          <a:bodyPr/>
          <a:lstStyle/>
          <a:p>
            <a:r>
              <a:rPr lang="en-US" dirty="0"/>
              <a:t>Click icon to add picture</a:t>
            </a:r>
            <a:endParaRPr lang="en-JM" dirty="0"/>
          </a:p>
        </p:txBody>
      </p:sp>
      <p:sp>
        <p:nvSpPr>
          <p:cNvPr id="5" name="Picture Placeholder 16"/>
          <p:cNvSpPr>
            <a:spLocks noGrp="1"/>
          </p:cNvSpPr>
          <p:nvPr>
            <p:ph type="pic" sz="quarter" idx="61"/>
          </p:nvPr>
        </p:nvSpPr>
        <p:spPr>
          <a:xfrm>
            <a:off x="3633538" y="123478"/>
            <a:ext cx="2714782" cy="4464496"/>
          </a:xfrm>
          <a:prstGeom prst="rect">
            <a:avLst/>
          </a:prstGeom>
        </p:spPr>
        <p:txBody>
          <a:bodyPr/>
          <a:lstStyle/>
          <a:p>
            <a:r>
              <a:rPr lang="en-US" dirty="0"/>
              <a:t>Click icon to add picture</a:t>
            </a:r>
            <a:endParaRPr lang="en-JM" dirty="0"/>
          </a:p>
        </p:txBody>
      </p:sp>
      <p:sp>
        <p:nvSpPr>
          <p:cNvPr id="6" name="Picture Placeholder 16"/>
          <p:cNvSpPr>
            <a:spLocks noGrp="1"/>
          </p:cNvSpPr>
          <p:nvPr>
            <p:ph type="pic" sz="quarter" idx="62"/>
          </p:nvPr>
        </p:nvSpPr>
        <p:spPr>
          <a:xfrm>
            <a:off x="6492335" y="123478"/>
            <a:ext cx="2538487" cy="1368152"/>
          </a:xfrm>
          <a:prstGeom prst="rect">
            <a:avLst/>
          </a:prstGeom>
        </p:spPr>
        <p:txBody>
          <a:bodyPr/>
          <a:lstStyle/>
          <a:p>
            <a:r>
              <a:rPr lang="en-US" dirty="0"/>
              <a:t>Click icon to add picture</a:t>
            </a:r>
            <a:endParaRPr lang="en-JM" dirty="0"/>
          </a:p>
        </p:txBody>
      </p:sp>
      <p:sp>
        <p:nvSpPr>
          <p:cNvPr id="7" name="Picture Placeholder 16"/>
          <p:cNvSpPr>
            <a:spLocks noGrp="1"/>
          </p:cNvSpPr>
          <p:nvPr>
            <p:ph type="pic" sz="quarter" idx="63"/>
          </p:nvPr>
        </p:nvSpPr>
        <p:spPr>
          <a:xfrm>
            <a:off x="6492335" y="1635646"/>
            <a:ext cx="2538487" cy="1440160"/>
          </a:xfrm>
          <a:prstGeom prst="rect">
            <a:avLst/>
          </a:prstGeom>
        </p:spPr>
        <p:txBody>
          <a:bodyPr/>
          <a:lstStyle/>
          <a:p>
            <a:r>
              <a:rPr lang="en-US" dirty="0"/>
              <a:t>Click icon to add picture</a:t>
            </a:r>
            <a:endParaRPr lang="en-JM" dirty="0"/>
          </a:p>
        </p:txBody>
      </p:sp>
      <p:sp>
        <p:nvSpPr>
          <p:cNvPr id="8" name="Picture Placeholder 16"/>
          <p:cNvSpPr>
            <a:spLocks noGrp="1"/>
          </p:cNvSpPr>
          <p:nvPr>
            <p:ph type="pic" sz="quarter" idx="64"/>
          </p:nvPr>
        </p:nvSpPr>
        <p:spPr>
          <a:xfrm>
            <a:off x="6492335" y="3219822"/>
            <a:ext cx="2538487" cy="1368152"/>
          </a:xfrm>
          <a:prstGeom prst="rect">
            <a:avLst/>
          </a:prstGeom>
        </p:spPr>
        <p:txBody>
          <a:bodyPr/>
          <a:lstStyle/>
          <a:p>
            <a:r>
              <a:rPr lang="en-US" dirty="0"/>
              <a:t>Click icon to add picture</a:t>
            </a:r>
            <a:endParaRPr lang="en-JM" dirty="0"/>
          </a:p>
        </p:txBody>
      </p:sp>
      <p:sp>
        <p:nvSpPr>
          <p:cNvPr id="2" name="Slide Number Placeholder 1"/>
          <p:cNvSpPr>
            <a:spLocks noGrp="1"/>
          </p:cNvSpPr>
          <p:nvPr>
            <p:ph type="sldNum" sz="quarter" idx="65"/>
          </p:nvPr>
        </p:nvSpPr>
        <p:spPr/>
        <p:txBody>
          <a:bodyPr/>
          <a:lstStyle/>
          <a:p>
            <a:fld id="{E52D2AFC-71C4-4511-B128-4ECEE52D3027}" type="slidenum">
              <a:rPr lang="en-ZA" smtClean="0"/>
              <a:pPr/>
              <a:t>‹#›</a:t>
            </a:fld>
            <a:endParaRPr lang="en-ZA" dirty="0"/>
          </a:p>
        </p:txBody>
      </p:sp>
    </p:spTree>
    <p:extLst>
      <p:ext uri="{BB962C8B-B14F-4D97-AF65-F5344CB8AC3E}">
        <p14:creationId xmlns:p14="http://schemas.microsoft.com/office/powerpoint/2010/main" val="7639179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SMA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893" y="893"/>
          <a:ext cx="893" cy="893"/>
        </p:xfrm>
        <a:graphic>
          <a:graphicData uri="http://schemas.openxmlformats.org/presentationml/2006/ole">
            <mc:AlternateContent xmlns:mc="http://schemas.openxmlformats.org/markup-compatibility/2006">
              <mc:Choice xmlns:v="urn:schemas-microsoft-com:vml" Requires="v">
                <p:oleObj spid="_x0000_s34065" name="think-cell Slide" r:id="rId4" imgW="415" imgH="416" progId="TCLayout.ActiveDocument.1">
                  <p:embed/>
                </p:oleObj>
              </mc:Choice>
              <mc:Fallback>
                <p:oleObj name="think-cell Slide" r:id="rId4" imgW="415" imgH="416" progId="TCLayout.ActiveDocument.1">
                  <p:embed/>
                  <p:pic>
                    <p:nvPicPr>
                      <p:cNvPr id="2" name="Object 1" hidden="1"/>
                      <p:cNvPicPr/>
                      <p:nvPr/>
                    </p:nvPicPr>
                    <p:blipFill>
                      <a:blip r:embed="rId5"/>
                      <a:stretch>
                        <a:fillRect/>
                      </a:stretch>
                    </p:blipFill>
                    <p:spPr>
                      <a:xfrm>
                        <a:off x="893" y="893"/>
                        <a:ext cx="893" cy="893"/>
                      </a:xfrm>
                      <a:prstGeom prst="rect">
                        <a:avLst/>
                      </a:prstGeom>
                    </p:spPr>
                  </p:pic>
                </p:oleObj>
              </mc:Fallback>
            </mc:AlternateContent>
          </a:graphicData>
        </a:graphic>
      </p:graphicFrame>
      <p:sp>
        <p:nvSpPr>
          <p:cNvPr id="6" name="Content Placeholder 13"/>
          <p:cNvSpPr>
            <a:spLocks noGrp="1"/>
          </p:cNvSpPr>
          <p:nvPr>
            <p:ph sz="quarter" idx="14"/>
          </p:nvPr>
        </p:nvSpPr>
        <p:spPr>
          <a:xfrm>
            <a:off x="445770" y="1275589"/>
            <a:ext cx="8158678" cy="3240378"/>
          </a:xfrm>
          <a:prstGeom prst="rect">
            <a:avLst/>
          </a:prstGeom>
        </p:spPr>
        <p:txBody>
          <a:bodyPr>
            <a:normAutofit/>
          </a:bodyPr>
          <a:lstStyle>
            <a:lvl1pPr algn="l">
              <a:buNone/>
              <a:defRPr sz="2000" b="0" i="0">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7" name="Title Placeholder 1"/>
          <p:cNvSpPr>
            <a:spLocks noGrp="1"/>
          </p:cNvSpPr>
          <p:nvPr>
            <p:ph type="title"/>
          </p:nvPr>
        </p:nvSpPr>
        <p:spPr>
          <a:xfrm>
            <a:off x="1121676" y="329196"/>
            <a:ext cx="7399312" cy="857250"/>
          </a:xfrm>
          <a:prstGeom prst="rect">
            <a:avLst/>
          </a:prstGeom>
        </p:spPr>
        <p:txBody>
          <a:bodyPr vert="horz" lIns="91440" tIns="45720" rIns="91440" bIns="45720" rtlCol="0" anchor="t" anchorCtr="0">
            <a:normAutofit/>
          </a:bodyPr>
          <a:lstStyle>
            <a:lvl1pPr>
              <a:defRPr sz="28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91378689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SMA Title and Bullete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893" y="893"/>
          <a:ext cx="893" cy="893"/>
        </p:xfrm>
        <a:graphic>
          <a:graphicData uri="http://schemas.openxmlformats.org/presentationml/2006/ole">
            <mc:AlternateContent xmlns:mc="http://schemas.openxmlformats.org/markup-compatibility/2006">
              <mc:Choice xmlns:v="urn:schemas-microsoft-com:vml" Requires="v">
                <p:oleObj spid="_x0000_s35089" name="think-cell Slide" r:id="rId4" imgW="461" imgH="462" progId="TCLayout.ActiveDocument.1">
                  <p:embed/>
                </p:oleObj>
              </mc:Choice>
              <mc:Fallback>
                <p:oleObj name="think-cell Slide" r:id="rId4" imgW="461" imgH="462" progId="TCLayout.ActiveDocument.1">
                  <p:embed/>
                  <p:pic>
                    <p:nvPicPr>
                      <p:cNvPr id="2" name="Object 1" hidden="1"/>
                      <p:cNvPicPr/>
                      <p:nvPr/>
                    </p:nvPicPr>
                    <p:blipFill>
                      <a:blip r:embed="rId5"/>
                      <a:stretch>
                        <a:fillRect/>
                      </a:stretch>
                    </p:blipFill>
                    <p:spPr>
                      <a:xfrm>
                        <a:off x="893" y="893"/>
                        <a:ext cx="893" cy="893"/>
                      </a:xfrm>
                      <a:prstGeom prst="rect">
                        <a:avLst/>
                      </a:prstGeom>
                    </p:spPr>
                  </p:pic>
                </p:oleObj>
              </mc:Fallback>
            </mc:AlternateContent>
          </a:graphicData>
        </a:graphic>
      </p:graphicFrame>
      <p:sp>
        <p:nvSpPr>
          <p:cNvPr id="3" name="Content Placeholder 2"/>
          <p:cNvSpPr>
            <a:spLocks noGrp="1"/>
          </p:cNvSpPr>
          <p:nvPr>
            <p:ph idx="1"/>
          </p:nvPr>
        </p:nvSpPr>
        <p:spPr>
          <a:xfrm>
            <a:off x="1197114" y="1707654"/>
            <a:ext cx="7399312" cy="2825106"/>
          </a:xfrm>
          <a:prstGeom prst="rect">
            <a:avLst/>
          </a:prstGeom>
        </p:spPr>
        <p:txBody>
          <a:bodyPr/>
          <a:lstStyle>
            <a:lvl1pPr marL="342905" indent="-360005">
              <a:lnSpc>
                <a:spcPct val="120000"/>
              </a:lnSpc>
              <a:spcBef>
                <a:spcPts val="0"/>
              </a:spcBef>
              <a:buClr>
                <a:srgbClr val="E30613"/>
              </a:buClr>
              <a:buSzPct val="90000"/>
              <a:buFont typeface="Wingdings" charset="2"/>
              <a:buChar char="§"/>
              <a:defRPr sz="2400">
                <a:solidFill>
                  <a:schemeClr val="tx1"/>
                </a:solidFill>
              </a:defRPr>
            </a:lvl1pPr>
            <a:lvl2pPr marL="742960" indent="-360005">
              <a:lnSpc>
                <a:spcPct val="120000"/>
              </a:lnSpc>
              <a:spcBef>
                <a:spcPts val="0"/>
              </a:spcBef>
              <a:buClr>
                <a:srgbClr val="E30613"/>
              </a:buClr>
              <a:buSzPct val="90000"/>
              <a:buFont typeface="Wingdings" charset="2"/>
              <a:buChar char="§"/>
              <a:defRPr sz="2000">
                <a:solidFill>
                  <a:schemeClr val="tx1"/>
                </a:solidFill>
              </a:defRPr>
            </a:lvl2pPr>
            <a:lvl3pPr marL="1143014" indent="-360005">
              <a:lnSpc>
                <a:spcPct val="120000"/>
              </a:lnSpc>
              <a:spcBef>
                <a:spcPts val="0"/>
              </a:spcBef>
              <a:buClr>
                <a:srgbClr val="E30613"/>
              </a:buClr>
              <a:buSzPct val="90000"/>
              <a:buFont typeface="Wingdings" charset="2"/>
              <a:buChar char="§"/>
              <a:defRPr sz="1800">
                <a:solidFill>
                  <a:schemeClr val="tx1"/>
                </a:solidFill>
              </a:defRPr>
            </a:lvl3pPr>
            <a:lvl4pPr marL="1600220" indent="-360005">
              <a:lnSpc>
                <a:spcPct val="120000"/>
              </a:lnSpc>
              <a:spcBef>
                <a:spcPts val="0"/>
              </a:spcBef>
              <a:buClr>
                <a:srgbClr val="E30613"/>
              </a:buClr>
              <a:buSzPct val="90000"/>
              <a:buFont typeface="Wingdings" charset="2"/>
              <a:buChar char="§"/>
              <a:defRPr sz="1600">
                <a:solidFill>
                  <a:schemeClr val="tx1"/>
                </a:solidFill>
              </a:defRPr>
            </a:lvl4pPr>
            <a:lvl5pPr marL="2057426" indent="-360005">
              <a:lnSpc>
                <a:spcPct val="120000"/>
              </a:lnSpc>
              <a:spcBef>
                <a:spcPts val="0"/>
              </a:spcBef>
              <a:buClr>
                <a:srgbClr val="E30613"/>
              </a:buClr>
              <a:buSzPct val="90000"/>
              <a:buFont typeface="Wingdings" charset="2"/>
              <a:buChar char="§"/>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1"/>
          <p:cNvSpPr>
            <a:spLocks noGrp="1"/>
          </p:cNvSpPr>
          <p:nvPr>
            <p:ph type="title"/>
          </p:nvPr>
        </p:nvSpPr>
        <p:spPr>
          <a:xfrm>
            <a:off x="1197114" y="850404"/>
            <a:ext cx="7399312" cy="857250"/>
          </a:xfrm>
          <a:prstGeom prst="rect">
            <a:avLst/>
          </a:prstGeom>
        </p:spPr>
        <p:txBody>
          <a:bodyPr vert="horz" lIns="91440" tIns="45720" rIns="91440" bIns="45720" rtlCol="0" anchor="t" anchorCtr="0">
            <a:normAutofit/>
          </a:bodyPr>
          <a:lstStyle>
            <a:lvl1pPr>
              <a:defRPr sz="28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17751440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931641"/>
            <a:ext cx="4038600" cy="3393579"/>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648200" y="931641"/>
            <a:ext cx="4038600" cy="3393579"/>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8229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sp>
        <p:nvSpPr>
          <p:cNvPr id="5"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7" name="Straight Connector 6"/>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SMA Title and Two Column slide">
    <p:spTree>
      <p:nvGrpSpPr>
        <p:cNvPr id="1" name=""/>
        <p:cNvGrpSpPr/>
        <p:nvPr/>
      </p:nvGrpSpPr>
      <p:grpSpPr>
        <a:xfrm>
          <a:off x="0" y="0"/>
          <a:ext cx="0" cy="0"/>
          <a:chOff x="0" y="0"/>
          <a:chExt cx="0" cy="0"/>
        </a:xfrm>
      </p:grpSpPr>
      <p:sp>
        <p:nvSpPr>
          <p:cNvPr id="9" name="Text Placeholder 2"/>
          <p:cNvSpPr>
            <a:spLocks noGrp="1"/>
          </p:cNvSpPr>
          <p:nvPr>
            <p:ph type="body" idx="1"/>
          </p:nvPr>
        </p:nvSpPr>
        <p:spPr>
          <a:xfrm>
            <a:off x="414586" y="1563639"/>
            <a:ext cx="4040188" cy="355551"/>
          </a:xfrm>
          <a:prstGeom prst="rect">
            <a:avLst/>
          </a:prstGeom>
        </p:spPr>
        <p:txBody>
          <a:bodyPr anchor="b">
            <a:noAutofit/>
          </a:bodyPr>
          <a:lstStyle>
            <a:lvl1pPr marL="0" indent="0">
              <a:buNone/>
              <a:defRPr sz="1800" b="1">
                <a:solidFill>
                  <a:srgbClr val="575756"/>
                </a:solidFill>
              </a:defRPr>
            </a:lvl1pPr>
            <a:lvl2pPr marL="457206" indent="0">
              <a:buNone/>
              <a:defRPr sz="2000" b="1"/>
            </a:lvl2pPr>
            <a:lvl3pPr marL="914411" indent="0">
              <a:buNone/>
              <a:defRPr sz="1800"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dirty="0"/>
              <a:t>Click to edit Master text styles</a:t>
            </a:r>
          </a:p>
        </p:txBody>
      </p:sp>
      <p:sp>
        <p:nvSpPr>
          <p:cNvPr id="10" name="Content Placeholder 3"/>
          <p:cNvSpPr>
            <a:spLocks noGrp="1"/>
          </p:cNvSpPr>
          <p:nvPr>
            <p:ph sz="half" idx="2"/>
          </p:nvPr>
        </p:nvSpPr>
        <p:spPr>
          <a:xfrm>
            <a:off x="414586" y="1919190"/>
            <a:ext cx="4040188" cy="2668785"/>
          </a:xfrm>
          <a:prstGeom prst="rect">
            <a:avLst/>
          </a:prstGeom>
        </p:spPr>
        <p:txBody>
          <a:bodyPr/>
          <a:lstStyle>
            <a:lvl1pPr marL="0" indent="0">
              <a:buClr>
                <a:srgbClr val="E30613"/>
              </a:buClr>
              <a:buSzPct val="90000"/>
              <a:buFont typeface="Wingdings" charset="2"/>
              <a:buNone/>
              <a:defRPr sz="1800">
                <a:solidFill>
                  <a:schemeClr val="tx1"/>
                </a:solidFill>
              </a:defRPr>
            </a:lvl1pPr>
            <a:lvl2pPr marL="742960" indent="-285753">
              <a:buClr>
                <a:srgbClr val="E30613"/>
              </a:buClr>
              <a:buSzPct val="90000"/>
              <a:buFont typeface="Wingdings" charset="2"/>
              <a:buChar char="§"/>
              <a:defRPr sz="1400">
                <a:solidFill>
                  <a:schemeClr val="tx1"/>
                </a:solidFill>
              </a:defRPr>
            </a:lvl2pPr>
            <a:lvl3pPr marL="1143014" indent="-228603">
              <a:buClr>
                <a:srgbClr val="E30613"/>
              </a:buClr>
              <a:buSzPct val="90000"/>
              <a:buFont typeface="Wingdings" charset="2"/>
              <a:buChar char="§"/>
              <a:defRPr sz="1400">
                <a:solidFill>
                  <a:schemeClr val="tx1"/>
                </a:solidFill>
              </a:defRPr>
            </a:lvl3pPr>
            <a:lvl4pPr marL="1600220" indent="-228603">
              <a:buClr>
                <a:srgbClr val="E30613"/>
              </a:buClr>
              <a:buSzPct val="90000"/>
              <a:buFont typeface="Wingdings" charset="2"/>
              <a:buChar char="§"/>
              <a:defRPr sz="1200">
                <a:solidFill>
                  <a:schemeClr val="tx1"/>
                </a:solidFill>
              </a:defRPr>
            </a:lvl4pPr>
            <a:lvl5pPr marL="2057426" indent="-228603">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p:txBody>
      </p:sp>
      <p:sp>
        <p:nvSpPr>
          <p:cNvPr id="11" name="Text Placeholder 4"/>
          <p:cNvSpPr>
            <a:spLocks noGrp="1"/>
          </p:cNvSpPr>
          <p:nvPr>
            <p:ph type="body" sz="quarter" idx="3"/>
          </p:nvPr>
        </p:nvSpPr>
        <p:spPr>
          <a:xfrm>
            <a:off x="4645027" y="1563639"/>
            <a:ext cx="4041775" cy="355551"/>
          </a:xfrm>
          <a:prstGeom prst="rect">
            <a:avLst/>
          </a:prstGeom>
        </p:spPr>
        <p:txBody>
          <a:bodyPr anchor="b">
            <a:noAutofit/>
          </a:bodyPr>
          <a:lstStyle>
            <a:lvl1pPr marL="0" indent="0">
              <a:buNone/>
              <a:defRPr sz="1800" b="1">
                <a:solidFill>
                  <a:srgbClr val="575756"/>
                </a:solidFill>
              </a:defRPr>
            </a:lvl1pPr>
            <a:lvl2pPr marL="457206" indent="0">
              <a:buNone/>
              <a:defRPr sz="2000" b="1"/>
            </a:lvl2pPr>
            <a:lvl3pPr marL="914411" indent="0">
              <a:buNone/>
              <a:defRPr sz="1800"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dirty="0"/>
              <a:t>Click to edit Master text styles</a:t>
            </a:r>
          </a:p>
        </p:txBody>
      </p:sp>
      <p:sp>
        <p:nvSpPr>
          <p:cNvPr id="12" name="Content Placeholder 5"/>
          <p:cNvSpPr>
            <a:spLocks noGrp="1"/>
          </p:cNvSpPr>
          <p:nvPr>
            <p:ph sz="quarter" idx="4"/>
          </p:nvPr>
        </p:nvSpPr>
        <p:spPr>
          <a:xfrm>
            <a:off x="4645027" y="1919190"/>
            <a:ext cx="4041775" cy="2668785"/>
          </a:xfrm>
          <a:prstGeom prst="rect">
            <a:avLst/>
          </a:prstGeom>
        </p:spPr>
        <p:txBody>
          <a:bodyPr/>
          <a:lstStyle>
            <a:lvl1pPr marL="0" indent="0">
              <a:buClr>
                <a:srgbClr val="E30613"/>
              </a:buClr>
              <a:buSzPct val="90000"/>
              <a:buFont typeface="Wingdings" charset="2"/>
              <a:buNone/>
              <a:defRPr sz="1800">
                <a:solidFill>
                  <a:schemeClr val="tx1"/>
                </a:solidFill>
              </a:defRPr>
            </a:lvl1pPr>
            <a:lvl2pPr marL="742960" indent="-285753">
              <a:buClr>
                <a:srgbClr val="E30613"/>
              </a:buClr>
              <a:buSzPct val="90000"/>
              <a:buFont typeface="Wingdings" charset="2"/>
              <a:buChar char="§"/>
              <a:defRPr sz="1400">
                <a:solidFill>
                  <a:schemeClr val="tx1"/>
                </a:solidFill>
              </a:defRPr>
            </a:lvl2pPr>
            <a:lvl3pPr marL="1143014" indent="-228603">
              <a:buClr>
                <a:srgbClr val="E30613"/>
              </a:buClr>
              <a:buSzPct val="90000"/>
              <a:buFont typeface="Wingdings" charset="2"/>
              <a:buChar char="§"/>
              <a:defRPr sz="1400">
                <a:solidFill>
                  <a:schemeClr val="tx1"/>
                </a:solidFill>
              </a:defRPr>
            </a:lvl3pPr>
            <a:lvl4pPr marL="1600220" indent="-228603">
              <a:buClr>
                <a:srgbClr val="E30613"/>
              </a:buClr>
              <a:buSzPct val="90000"/>
              <a:buFont typeface="Wingdings" charset="2"/>
              <a:buChar char="§"/>
              <a:defRPr sz="1200">
                <a:solidFill>
                  <a:schemeClr val="tx1"/>
                </a:solidFill>
              </a:defRPr>
            </a:lvl4pPr>
            <a:lvl5pPr marL="2057426" indent="-228603">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p:txBody>
      </p:sp>
      <p:sp>
        <p:nvSpPr>
          <p:cNvPr id="14" name="Title Placeholder 1"/>
          <p:cNvSpPr>
            <a:spLocks noGrp="1"/>
          </p:cNvSpPr>
          <p:nvPr>
            <p:ph type="title"/>
          </p:nvPr>
        </p:nvSpPr>
        <p:spPr>
          <a:xfrm>
            <a:off x="1197114" y="850405"/>
            <a:ext cx="7399312" cy="641226"/>
          </a:xfrm>
          <a:prstGeom prst="rect">
            <a:avLst/>
          </a:prstGeom>
        </p:spPr>
        <p:txBody>
          <a:bodyPr vert="horz" lIns="91440" tIns="45720" rIns="91440" bIns="45720" rtlCol="0" anchor="t" anchorCtr="0">
            <a:normAutofit/>
          </a:bodyPr>
          <a:lstStyle>
            <a:lvl1pPr>
              <a:defRPr sz="28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13024544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SMA Image and Content 02 slide">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1"/>
            <a:ext cx="3505200" cy="5143499"/>
          </a:xfrm>
          <a:prstGeom prst="rect">
            <a:avLst/>
          </a:prstGeom>
        </p:spPr>
        <p:txBody>
          <a:bodyPr>
            <a:normAutofit/>
          </a:bodyPr>
          <a:lstStyle>
            <a:lvl1pPr marL="0" indent="0">
              <a:buFontTx/>
              <a:buNone/>
              <a:tabLst>
                <a:tab pos="2959137" algn="l"/>
              </a:tabLst>
              <a:defRPr sz="1600">
                <a:solidFill>
                  <a:schemeClr val="bg1">
                    <a:lumMod val="65000"/>
                  </a:schemeClr>
                </a:solidFill>
              </a:defRPr>
            </a:lvl1pPr>
          </a:lstStyle>
          <a:p>
            <a:r>
              <a:rPr lang="en-US" dirty="0"/>
              <a:t>Click icon to add picture</a:t>
            </a:r>
            <a:endParaRPr lang="en-JM" dirty="0"/>
          </a:p>
        </p:txBody>
      </p:sp>
      <p:sp>
        <p:nvSpPr>
          <p:cNvPr id="4" name="Text Placeholder 5"/>
          <p:cNvSpPr>
            <a:spLocks noGrp="1"/>
          </p:cNvSpPr>
          <p:nvPr>
            <p:ph type="body" sz="quarter" idx="13"/>
          </p:nvPr>
        </p:nvSpPr>
        <p:spPr>
          <a:xfrm>
            <a:off x="4067944" y="339502"/>
            <a:ext cx="4618855" cy="4176464"/>
          </a:xfrm>
          <a:prstGeom prst="rect">
            <a:avLst/>
          </a:prstGeom>
        </p:spPr>
        <p:txBody>
          <a:bodyPr>
            <a:normAutofit/>
          </a:bodyPr>
          <a:lstStyle>
            <a:lvl1pPr marL="342905" indent="-360005">
              <a:lnSpc>
                <a:spcPct val="120000"/>
              </a:lnSpc>
              <a:spcBef>
                <a:spcPts val="0"/>
              </a:spcBef>
              <a:buClr>
                <a:srgbClr val="E30613"/>
              </a:buClr>
              <a:buSzPct val="90000"/>
              <a:buFont typeface="Wingdings" charset="2"/>
              <a:buChar char="§"/>
              <a:defRPr sz="2400" b="0" i="0">
                <a:solidFill>
                  <a:schemeClr val="tx1"/>
                </a:solidFill>
                <a:latin typeface="Arial" panose="020B0604020202020204" pitchFamily="34" charset="0"/>
                <a:cs typeface="Arial" panose="020B0604020202020204" pitchFamily="34" charset="0"/>
              </a:defRPr>
            </a:lvl1pPr>
            <a:lvl2pPr marL="742960" indent="-360005">
              <a:lnSpc>
                <a:spcPct val="120000"/>
              </a:lnSpc>
              <a:spcBef>
                <a:spcPts val="0"/>
              </a:spcBef>
              <a:buClr>
                <a:srgbClr val="FF0000"/>
              </a:buClr>
              <a:buSzPct val="90000"/>
              <a:buFont typeface="Wingdings" charset="2"/>
              <a:buChar char="§"/>
              <a:defRPr sz="2000" b="0" i="0">
                <a:solidFill>
                  <a:schemeClr val="tx1"/>
                </a:solidFill>
                <a:latin typeface="Arial" charset="0"/>
                <a:ea typeface="Arial" charset="0"/>
                <a:cs typeface="Arial" charset="0"/>
              </a:defRPr>
            </a:lvl2pPr>
            <a:lvl3pPr marL="1143014" indent="-228603">
              <a:buFont typeface="Sketch Rockwell" pitchFamily="2" charset="0"/>
              <a:buChar char="o"/>
              <a:defRPr>
                <a:solidFill>
                  <a:schemeClr val="tx1">
                    <a:lumMod val="65000"/>
                    <a:lumOff val="35000"/>
                  </a:schemeClr>
                </a:solidFill>
                <a:latin typeface="Futura LT Book" pitchFamily="2" charset="0"/>
              </a:defRPr>
            </a:lvl3pPr>
            <a:lvl4pPr marL="1600220" indent="-228603">
              <a:buFont typeface="Sketch Rockwell" pitchFamily="2" charset="0"/>
              <a:buChar char="o"/>
              <a:defRPr>
                <a:solidFill>
                  <a:schemeClr val="tx1">
                    <a:lumMod val="65000"/>
                    <a:lumOff val="35000"/>
                  </a:schemeClr>
                </a:solidFill>
                <a:latin typeface="Futura LT Book" pitchFamily="2" charset="0"/>
              </a:defRPr>
            </a:lvl4pPr>
            <a:lvl5pPr marL="2057426" indent="-228603">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a:p>
            <a:pPr lvl="1"/>
            <a:r>
              <a:rPr lang="en-US" dirty="0"/>
              <a:t>Click to edit </a:t>
            </a:r>
          </a:p>
        </p:txBody>
      </p:sp>
      <p:sp>
        <p:nvSpPr>
          <p:cNvPr id="2" name="Rectangle 1"/>
          <p:cNvSpPr/>
          <p:nvPr userDrawn="1"/>
        </p:nvSpPr>
        <p:spPr>
          <a:xfrm>
            <a:off x="411882" y="4515966"/>
            <a:ext cx="8352928"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914411" hangingPunct="1"/>
            <a:endParaRPr lang="en-ZA" sz="1800" kern="1200" dirty="0">
              <a:solidFill>
                <a:srgbClr val="FFFFFF"/>
              </a:solidFill>
            </a:endParaRPr>
          </a:p>
        </p:txBody>
      </p:sp>
      <p:sp>
        <p:nvSpPr>
          <p:cNvPr id="5" name="Rectangle 4"/>
          <p:cNvSpPr/>
          <p:nvPr userDrawn="1"/>
        </p:nvSpPr>
        <p:spPr>
          <a:xfrm>
            <a:off x="4067175" y="4587974"/>
            <a:ext cx="1512887"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914411" hangingPunct="1"/>
            <a:endParaRPr lang="en-ZA" sz="1800" kern="1200" dirty="0">
              <a:solidFill>
                <a:srgbClr val="FFFFFF"/>
              </a:solidFill>
            </a:endParaRPr>
          </a:p>
        </p:txBody>
      </p:sp>
      <p:sp>
        <p:nvSpPr>
          <p:cNvPr id="6" name="Rectangle 5"/>
          <p:cNvSpPr/>
          <p:nvPr userDrawn="1"/>
        </p:nvSpPr>
        <p:spPr>
          <a:xfrm>
            <a:off x="5580062" y="4587974"/>
            <a:ext cx="1595437"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914411" hangingPunct="1"/>
            <a:endParaRPr lang="en-ZA" sz="1800" kern="1200" dirty="0">
              <a:solidFill>
                <a:srgbClr val="FFFFFF"/>
              </a:solidFill>
            </a:endParaRPr>
          </a:p>
        </p:txBody>
      </p:sp>
      <p:sp>
        <p:nvSpPr>
          <p:cNvPr id="7" name="Rectangle 6"/>
          <p:cNvSpPr/>
          <p:nvPr userDrawn="1"/>
        </p:nvSpPr>
        <p:spPr>
          <a:xfrm>
            <a:off x="7164387" y="4587974"/>
            <a:ext cx="1600423"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914411" hangingPunct="1"/>
            <a:endParaRPr lang="en-ZA" sz="1800" kern="1200" dirty="0">
              <a:solidFill>
                <a:srgbClr val="FFFFFF"/>
              </a:solidFill>
            </a:endParaRPr>
          </a:p>
        </p:txBody>
      </p:sp>
    </p:spTree>
    <p:extLst>
      <p:ext uri="{BB962C8B-B14F-4D97-AF65-F5344CB8AC3E}">
        <p14:creationId xmlns:p14="http://schemas.microsoft.com/office/powerpoint/2010/main" val="3762761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SMA Image 01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98555" y="126504"/>
            <a:ext cx="4590999" cy="1653158"/>
          </a:xfrm>
          <a:prstGeom prst="rect">
            <a:avLst/>
          </a:prstGeom>
        </p:spPr>
      </p:pic>
      <p:sp>
        <p:nvSpPr>
          <p:cNvPr id="6" name="Picture Placeholder 16"/>
          <p:cNvSpPr>
            <a:spLocks noGrp="1"/>
          </p:cNvSpPr>
          <p:nvPr>
            <p:ph type="pic" sz="quarter" idx="59"/>
          </p:nvPr>
        </p:nvSpPr>
        <p:spPr>
          <a:xfrm>
            <a:off x="0" y="1707655"/>
            <a:ext cx="9144000" cy="3435845"/>
          </a:xfrm>
          <a:prstGeom prst="rect">
            <a:avLst/>
          </a:prstGeom>
        </p:spPr>
        <p:txBody>
          <a:bodyPr/>
          <a:lstStyle/>
          <a:p>
            <a:r>
              <a:rPr lang="en-US" dirty="0"/>
              <a:t>Click icon to add picture</a:t>
            </a:r>
            <a:endParaRPr lang="en-JM" dirty="0"/>
          </a:p>
        </p:txBody>
      </p:sp>
      <p:sp>
        <p:nvSpPr>
          <p:cNvPr id="8" name="Title Placeholder 1"/>
          <p:cNvSpPr>
            <a:spLocks noGrp="1"/>
          </p:cNvSpPr>
          <p:nvPr>
            <p:ph type="title"/>
          </p:nvPr>
        </p:nvSpPr>
        <p:spPr>
          <a:xfrm>
            <a:off x="1197114" y="850404"/>
            <a:ext cx="7399312" cy="857250"/>
          </a:xfrm>
          <a:prstGeom prst="rect">
            <a:avLst/>
          </a:prstGeom>
        </p:spPr>
        <p:txBody>
          <a:bodyPr vert="horz" lIns="91440" tIns="45720" rIns="91440" bIns="45720" rtlCol="0" anchor="t" anchorCtr="0">
            <a:normAutofit/>
          </a:bodyPr>
          <a:lstStyle>
            <a:lvl1pPr>
              <a:defRPr sz="28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40780933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SMA Image 02 slide">
    <p:spTree>
      <p:nvGrpSpPr>
        <p:cNvPr id="1" name=""/>
        <p:cNvGrpSpPr/>
        <p:nvPr/>
      </p:nvGrpSpPr>
      <p:grpSpPr>
        <a:xfrm>
          <a:off x="0" y="0"/>
          <a:ext cx="0" cy="0"/>
          <a:chOff x="0" y="0"/>
          <a:chExt cx="0" cy="0"/>
        </a:xfrm>
      </p:grpSpPr>
      <p:sp>
        <p:nvSpPr>
          <p:cNvPr id="9" name="Picture Placeholder 16"/>
          <p:cNvSpPr>
            <a:spLocks noGrp="1"/>
          </p:cNvSpPr>
          <p:nvPr>
            <p:ph type="pic" sz="quarter" idx="59"/>
          </p:nvPr>
        </p:nvSpPr>
        <p:spPr>
          <a:xfrm>
            <a:off x="0" y="1707654"/>
            <a:ext cx="4572000" cy="3435846"/>
          </a:xfrm>
          <a:prstGeom prst="rect">
            <a:avLst/>
          </a:prstGeom>
        </p:spPr>
        <p:txBody>
          <a:bodyPr/>
          <a:lstStyle/>
          <a:p>
            <a:r>
              <a:rPr lang="en-US" dirty="0"/>
              <a:t>Click icon to add picture</a:t>
            </a:r>
            <a:endParaRPr lang="en-JM" dirty="0"/>
          </a:p>
        </p:txBody>
      </p:sp>
      <p:sp>
        <p:nvSpPr>
          <p:cNvPr id="10" name="Picture Placeholder 16"/>
          <p:cNvSpPr>
            <a:spLocks noGrp="1"/>
          </p:cNvSpPr>
          <p:nvPr>
            <p:ph type="pic" sz="quarter" idx="60"/>
          </p:nvPr>
        </p:nvSpPr>
        <p:spPr>
          <a:xfrm>
            <a:off x="4572000" y="1707654"/>
            <a:ext cx="4572000" cy="3435846"/>
          </a:xfrm>
          <a:prstGeom prst="rect">
            <a:avLst/>
          </a:prstGeom>
        </p:spPr>
        <p:txBody>
          <a:bodyPr/>
          <a:lstStyle/>
          <a:p>
            <a:r>
              <a:rPr lang="en-US" dirty="0"/>
              <a:t>Click icon to add picture</a:t>
            </a:r>
            <a:endParaRPr lang="en-JM" dirty="0"/>
          </a:p>
        </p:txBody>
      </p:sp>
      <p:sp>
        <p:nvSpPr>
          <p:cNvPr id="8" name="Title Placeholder 1"/>
          <p:cNvSpPr>
            <a:spLocks noGrp="1"/>
          </p:cNvSpPr>
          <p:nvPr>
            <p:ph type="title"/>
          </p:nvPr>
        </p:nvSpPr>
        <p:spPr>
          <a:xfrm>
            <a:off x="1197114" y="850404"/>
            <a:ext cx="7399312" cy="857250"/>
          </a:xfrm>
          <a:prstGeom prst="rect">
            <a:avLst/>
          </a:prstGeom>
        </p:spPr>
        <p:txBody>
          <a:bodyPr vert="horz" lIns="91440" tIns="45720" rIns="91440" bIns="45720" rtlCol="0" anchor="t" anchorCtr="0">
            <a:normAutofit/>
          </a:bodyPr>
          <a:lstStyle>
            <a:lvl1pPr>
              <a:defRPr sz="28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6722468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GSMA Image 03 slide">
    <p:spTree>
      <p:nvGrpSpPr>
        <p:cNvPr id="1" name=""/>
        <p:cNvGrpSpPr/>
        <p:nvPr/>
      </p:nvGrpSpPr>
      <p:grpSpPr>
        <a:xfrm>
          <a:off x="0" y="0"/>
          <a:ext cx="0" cy="0"/>
          <a:chOff x="0" y="0"/>
          <a:chExt cx="0" cy="0"/>
        </a:xfrm>
      </p:grpSpPr>
      <p:sp>
        <p:nvSpPr>
          <p:cNvPr id="3" name="Picture Placeholder 16"/>
          <p:cNvSpPr>
            <a:spLocks noGrp="1"/>
          </p:cNvSpPr>
          <p:nvPr>
            <p:ph type="pic" sz="quarter" idx="59"/>
          </p:nvPr>
        </p:nvSpPr>
        <p:spPr>
          <a:xfrm>
            <a:off x="155631" y="123478"/>
            <a:ext cx="3330575" cy="2088232"/>
          </a:xfrm>
          <a:prstGeom prst="rect">
            <a:avLst/>
          </a:prstGeom>
        </p:spPr>
        <p:txBody>
          <a:bodyPr/>
          <a:lstStyle/>
          <a:p>
            <a:r>
              <a:rPr lang="en-US" dirty="0"/>
              <a:t>Click icon to add picture</a:t>
            </a:r>
            <a:endParaRPr lang="en-JM" dirty="0"/>
          </a:p>
        </p:txBody>
      </p:sp>
      <p:sp>
        <p:nvSpPr>
          <p:cNvPr id="4" name="Picture Placeholder 16"/>
          <p:cNvSpPr>
            <a:spLocks noGrp="1"/>
          </p:cNvSpPr>
          <p:nvPr>
            <p:ph type="pic" sz="quarter" idx="60"/>
          </p:nvPr>
        </p:nvSpPr>
        <p:spPr>
          <a:xfrm>
            <a:off x="155631" y="2355726"/>
            <a:ext cx="3330575" cy="2232248"/>
          </a:xfrm>
          <a:prstGeom prst="rect">
            <a:avLst/>
          </a:prstGeom>
        </p:spPr>
        <p:txBody>
          <a:bodyPr/>
          <a:lstStyle/>
          <a:p>
            <a:r>
              <a:rPr lang="en-US" dirty="0"/>
              <a:t>Click icon to add picture</a:t>
            </a:r>
            <a:endParaRPr lang="en-JM" dirty="0"/>
          </a:p>
        </p:txBody>
      </p:sp>
      <p:sp>
        <p:nvSpPr>
          <p:cNvPr id="5" name="Picture Placeholder 16"/>
          <p:cNvSpPr>
            <a:spLocks noGrp="1"/>
          </p:cNvSpPr>
          <p:nvPr>
            <p:ph type="pic" sz="quarter" idx="61"/>
          </p:nvPr>
        </p:nvSpPr>
        <p:spPr>
          <a:xfrm>
            <a:off x="3633538" y="123478"/>
            <a:ext cx="2714782" cy="4464496"/>
          </a:xfrm>
          <a:prstGeom prst="rect">
            <a:avLst/>
          </a:prstGeom>
        </p:spPr>
        <p:txBody>
          <a:bodyPr/>
          <a:lstStyle/>
          <a:p>
            <a:r>
              <a:rPr lang="en-US" dirty="0"/>
              <a:t>Click icon to add picture</a:t>
            </a:r>
            <a:endParaRPr lang="en-JM" dirty="0"/>
          </a:p>
        </p:txBody>
      </p:sp>
      <p:sp>
        <p:nvSpPr>
          <p:cNvPr id="6" name="Picture Placeholder 16"/>
          <p:cNvSpPr>
            <a:spLocks noGrp="1"/>
          </p:cNvSpPr>
          <p:nvPr>
            <p:ph type="pic" sz="quarter" idx="62"/>
          </p:nvPr>
        </p:nvSpPr>
        <p:spPr>
          <a:xfrm>
            <a:off x="6492336" y="123478"/>
            <a:ext cx="2538487" cy="1368152"/>
          </a:xfrm>
          <a:prstGeom prst="rect">
            <a:avLst/>
          </a:prstGeom>
        </p:spPr>
        <p:txBody>
          <a:bodyPr/>
          <a:lstStyle/>
          <a:p>
            <a:r>
              <a:rPr lang="en-US" dirty="0"/>
              <a:t>Click icon to add picture</a:t>
            </a:r>
            <a:endParaRPr lang="en-JM" dirty="0"/>
          </a:p>
        </p:txBody>
      </p:sp>
      <p:sp>
        <p:nvSpPr>
          <p:cNvPr id="7" name="Picture Placeholder 16"/>
          <p:cNvSpPr>
            <a:spLocks noGrp="1"/>
          </p:cNvSpPr>
          <p:nvPr>
            <p:ph type="pic" sz="quarter" idx="63"/>
          </p:nvPr>
        </p:nvSpPr>
        <p:spPr>
          <a:xfrm>
            <a:off x="6492336" y="1635646"/>
            <a:ext cx="2538487" cy="1440160"/>
          </a:xfrm>
          <a:prstGeom prst="rect">
            <a:avLst/>
          </a:prstGeom>
        </p:spPr>
        <p:txBody>
          <a:bodyPr/>
          <a:lstStyle/>
          <a:p>
            <a:r>
              <a:rPr lang="en-US" dirty="0"/>
              <a:t>Click icon to add picture</a:t>
            </a:r>
            <a:endParaRPr lang="en-JM" dirty="0"/>
          </a:p>
        </p:txBody>
      </p:sp>
      <p:sp>
        <p:nvSpPr>
          <p:cNvPr id="8" name="Picture Placeholder 16"/>
          <p:cNvSpPr>
            <a:spLocks noGrp="1"/>
          </p:cNvSpPr>
          <p:nvPr>
            <p:ph type="pic" sz="quarter" idx="64"/>
          </p:nvPr>
        </p:nvSpPr>
        <p:spPr>
          <a:xfrm>
            <a:off x="6492336" y="3219822"/>
            <a:ext cx="2538487" cy="1368152"/>
          </a:xfrm>
          <a:prstGeom prst="rect">
            <a:avLst/>
          </a:prstGeom>
        </p:spPr>
        <p:txBody>
          <a:bodyPr/>
          <a:lstStyle/>
          <a:p>
            <a:r>
              <a:rPr lang="en-US" dirty="0"/>
              <a:t>Click icon to add picture</a:t>
            </a:r>
            <a:endParaRPr lang="en-JM" dirty="0"/>
          </a:p>
        </p:txBody>
      </p:sp>
    </p:spTree>
    <p:extLst>
      <p:ext uri="{BB962C8B-B14F-4D97-AF65-F5344CB8AC3E}">
        <p14:creationId xmlns:p14="http://schemas.microsoft.com/office/powerpoint/2010/main" val="19965178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GSMA Image and content slide03">
    <p:spTree>
      <p:nvGrpSpPr>
        <p:cNvPr id="1" name=""/>
        <p:cNvGrpSpPr/>
        <p:nvPr/>
      </p:nvGrpSpPr>
      <p:grpSpPr>
        <a:xfrm>
          <a:off x="0" y="0"/>
          <a:ext cx="0" cy="0"/>
          <a:chOff x="0" y="0"/>
          <a:chExt cx="0" cy="0"/>
        </a:xfrm>
      </p:grpSpPr>
      <p:sp>
        <p:nvSpPr>
          <p:cNvPr id="4" name="Picture Placeholder 16"/>
          <p:cNvSpPr>
            <a:spLocks noGrp="1"/>
          </p:cNvSpPr>
          <p:nvPr>
            <p:ph type="pic" sz="quarter" idx="59"/>
          </p:nvPr>
        </p:nvSpPr>
        <p:spPr>
          <a:xfrm>
            <a:off x="1" y="1152525"/>
            <a:ext cx="4535488" cy="3581401"/>
          </a:xfrm>
          <a:prstGeom prst="rect">
            <a:avLst/>
          </a:prstGeom>
        </p:spPr>
        <p:txBody>
          <a:bodyPr/>
          <a:lstStyle/>
          <a:p>
            <a:endParaRPr lang="en-JM" dirty="0"/>
          </a:p>
        </p:txBody>
      </p:sp>
      <p:sp>
        <p:nvSpPr>
          <p:cNvPr id="5" name="Content Placeholder 3"/>
          <p:cNvSpPr>
            <a:spLocks noGrp="1"/>
          </p:cNvSpPr>
          <p:nvPr>
            <p:ph sz="half" idx="2"/>
          </p:nvPr>
        </p:nvSpPr>
        <p:spPr>
          <a:xfrm>
            <a:off x="4629151" y="1164432"/>
            <a:ext cx="4124324" cy="3569494"/>
          </a:xfrm>
          <a:prstGeom prst="rect">
            <a:avLst/>
          </a:prstGeom>
        </p:spPr>
        <p:txBody>
          <a:bodyPr/>
          <a:lstStyle>
            <a:lvl1pPr marL="0" indent="0">
              <a:buFont typeface="+mj-lt"/>
              <a:buNone/>
              <a:defRPr sz="1300">
                <a:solidFill>
                  <a:srgbClr val="575756"/>
                </a:solidFill>
                <a:latin typeface="Arial" panose="020B0604020202020204" pitchFamily="34" charset="0"/>
                <a:cs typeface="Arial" panose="020B0604020202020204" pitchFamily="34" charset="0"/>
              </a:defRPr>
            </a:lvl1pPr>
            <a:lvl2pPr>
              <a:defRPr sz="1400">
                <a:solidFill>
                  <a:srgbClr val="575756"/>
                </a:solidFill>
              </a:defRPr>
            </a:lvl2pPr>
            <a:lvl3pPr>
              <a:defRPr sz="1400"/>
            </a:lvl3pPr>
            <a:lvl4pPr>
              <a:defRPr sz="1200"/>
            </a:lvl4pPr>
            <a:lvl5pPr marL="1828823" indent="0">
              <a:buNone/>
              <a:defRPr sz="1200"/>
            </a:lvl5pPr>
            <a:lvl6pPr>
              <a:defRPr sz="1600"/>
            </a:lvl6pPr>
            <a:lvl7pPr>
              <a:defRPr sz="1600"/>
            </a:lvl7pPr>
            <a:lvl8pPr>
              <a:defRPr sz="1600"/>
            </a:lvl8pPr>
            <a:lvl9pPr>
              <a:defRPr sz="1600"/>
            </a:lvl9pPr>
          </a:lstStyle>
          <a:p>
            <a:pPr lvl="0"/>
            <a:r>
              <a:rPr lang="en-US" dirty="0"/>
              <a:t>Click to edit Master text styles</a:t>
            </a:r>
          </a:p>
        </p:txBody>
      </p:sp>
      <p:sp>
        <p:nvSpPr>
          <p:cNvPr id="8" name="Title Placeholder 1"/>
          <p:cNvSpPr>
            <a:spLocks noGrp="1"/>
          </p:cNvSpPr>
          <p:nvPr>
            <p:ph type="title"/>
          </p:nvPr>
        </p:nvSpPr>
        <p:spPr>
          <a:xfrm>
            <a:off x="1079999" y="216000"/>
            <a:ext cx="6892927" cy="857250"/>
          </a:xfrm>
          <a:prstGeom prst="rect">
            <a:avLst/>
          </a:prstGeom>
        </p:spPr>
        <p:txBody>
          <a:bodyPr vert="horz" lIns="91440" tIns="45720" rIns="91440" bIns="45720" rtlCol="0" anchor="ctr">
            <a:normAutofit/>
          </a:bodyPr>
          <a:lstStyle>
            <a:lvl1pPr>
              <a:defRPr sz="2400" b="0">
                <a:solidFill>
                  <a:srgbClr val="575756"/>
                </a:solidFill>
                <a:latin typeface="Arial" panose="020B0604020202020204" pitchFamily="34" charset="0"/>
                <a:cs typeface="Arial" panose="020B0604020202020204"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val="30548929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GSMA Image and content slid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815136" y="1164432"/>
            <a:ext cx="4040188" cy="3569494"/>
          </a:xfrm>
          <a:prstGeom prst="rect">
            <a:avLst/>
          </a:prstGeom>
        </p:spPr>
        <p:txBody>
          <a:bodyPr/>
          <a:lstStyle>
            <a:lvl1pPr marL="0" indent="0">
              <a:buNone/>
              <a:defRPr sz="1300">
                <a:solidFill>
                  <a:srgbClr val="575756"/>
                </a:solidFill>
                <a:latin typeface="Arial" panose="020B0604020202020204" pitchFamily="34" charset="0"/>
                <a:cs typeface="Arial" panose="020B0604020202020204" pitchFamily="34" charset="0"/>
              </a:defRPr>
            </a:lvl1pPr>
            <a:lvl2pPr marL="457206" indent="0">
              <a:buNone/>
              <a:defRPr sz="1600">
                <a:solidFill>
                  <a:srgbClr val="575756"/>
                </a:solidFill>
                <a:latin typeface="Arial" panose="020B0604020202020204" pitchFamily="34" charset="0"/>
                <a:cs typeface="Arial" panose="020B0604020202020204" pitchFamily="34" charset="0"/>
              </a:defRPr>
            </a:lvl2pPr>
            <a:lvl3pPr marL="914411" indent="0">
              <a:buNone/>
              <a:defRPr sz="1600">
                <a:latin typeface="Arial" panose="020B0604020202020204" pitchFamily="34" charset="0"/>
                <a:cs typeface="Arial" panose="020B0604020202020204" pitchFamily="34" charset="0"/>
              </a:defRPr>
            </a:lvl3pPr>
            <a:lvl4pPr marL="1371617" indent="0">
              <a:buNone/>
              <a:defRPr sz="1600">
                <a:latin typeface="Arial" panose="020B0604020202020204" pitchFamily="34" charset="0"/>
                <a:cs typeface="Arial" panose="020B0604020202020204" pitchFamily="34" charset="0"/>
              </a:defRPr>
            </a:lvl4pPr>
            <a:lvl5pPr marL="1828823" indent="0">
              <a:buFont typeface="Arial" panose="020B0604020202020204" pitchFamily="34" charset="0"/>
              <a:buNone/>
              <a:defRPr sz="16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a:t>Click to edit Master text styles</a:t>
            </a:r>
          </a:p>
        </p:txBody>
      </p:sp>
      <p:sp>
        <p:nvSpPr>
          <p:cNvPr id="5" name="Picture Placeholder 16"/>
          <p:cNvSpPr>
            <a:spLocks noGrp="1"/>
          </p:cNvSpPr>
          <p:nvPr>
            <p:ph type="pic" sz="quarter" idx="59"/>
          </p:nvPr>
        </p:nvSpPr>
        <p:spPr>
          <a:xfrm>
            <a:off x="1" y="1152525"/>
            <a:ext cx="4657725" cy="3571876"/>
          </a:xfrm>
          <a:prstGeom prst="rect">
            <a:avLst/>
          </a:prstGeom>
        </p:spPr>
        <p:txBody>
          <a:bodyPr/>
          <a:lstStyle/>
          <a:p>
            <a:endParaRPr lang="en-JM" dirty="0"/>
          </a:p>
        </p:txBody>
      </p:sp>
      <p:sp>
        <p:nvSpPr>
          <p:cNvPr id="8" name="Title Placeholder 1"/>
          <p:cNvSpPr>
            <a:spLocks noGrp="1"/>
          </p:cNvSpPr>
          <p:nvPr>
            <p:ph type="title"/>
          </p:nvPr>
        </p:nvSpPr>
        <p:spPr>
          <a:xfrm>
            <a:off x="1079999" y="216000"/>
            <a:ext cx="6892927" cy="857250"/>
          </a:xfrm>
          <a:prstGeom prst="rect">
            <a:avLst/>
          </a:prstGeom>
        </p:spPr>
        <p:txBody>
          <a:bodyPr vert="horz" lIns="91440" tIns="45720" rIns="91440" bIns="45720" rtlCol="0" anchor="ctr">
            <a:normAutofit/>
          </a:bodyPr>
          <a:lstStyle>
            <a:lvl1pPr>
              <a:defRPr sz="2400" b="0">
                <a:solidFill>
                  <a:srgbClr val="575756"/>
                </a:solidFill>
                <a:latin typeface="Arial" panose="020B0604020202020204" pitchFamily="34" charset="0"/>
                <a:cs typeface="Arial" panose="020B0604020202020204"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val="26582927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682C554-AF50-3A4A-9579-1BC2DEFD4775}" type="datetimeFigureOut">
              <a:rPr lang="en-US" smtClean="0"/>
              <a:t>8/7/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72F1B92-B999-994B-9323-79C9A8DC0769}" type="slidenum">
              <a:rPr lang="en-US" smtClean="0"/>
              <a:t>‹#›</a:t>
            </a:fld>
            <a:endParaRPr lang="en-US"/>
          </a:p>
        </p:txBody>
      </p:sp>
    </p:spTree>
    <p:extLst>
      <p:ext uri="{BB962C8B-B14F-4D97-AF65-F5344CB8AC3E}">
        <p14:creationId xmlns:p14="http://schemas.microsoft.com/office/powerpoint/2010/main" val="42730124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958491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311214"/>
            <a:ext cx="4038600" cy="3014005"/>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648200" y="1311214"/>
            <a:ext cx="4038600" cy="3014006"/>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876684"/>
            <a:ext cx="8229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sp>
        <p:nvSpPr>
          <p:cNvPr id="5"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7" name="Straight Connector 6"/>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ext uri="{BB962C8B-B14F-4D97-AF65-F5344CB8AC3E}">
        <p14:creationId xmlns:p14="http://schemas.microsoft.com/office/powerpoint/2010/main" val="112707808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931641"/>
            <a:ext cx="4038600" cy="3276217"/>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8229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pic>
        <p:nvPicPr>
          <p:cNvPr id="5" name="Picture 4"/>
          <p:cNvPicPr>
            <a:picLocks noChangeAspect="1"/>
          </p:cNvPicPr>
          <p:nvPr userDrawn="1"/>
        </p:nvPicPr>
        <p:blipFill>
          <a:blip r:embed="rId2"/>
          <a:stretch>
            <a:fillRect/>
          </a:stretch>
        </p:blipFill>
        <p:spPr>
          <a:xfrm>
            <a:off x="4633587" y="931641"/>
            <a:ext cx="1490419" cy="1663602"/>
          </a:xfrm>
          <a:prstGeom prst="rect">
            <a:avLst/>
          </a:prstGeom>
        </p:spPr>
      </p:pic>
      <p:pic>
        <p:nvPicPr>
          <p:cNvPr id="7" name="Picture 6"/>
          <p:cNvPicPr>
            <a:picLocks noChangeAspect="1"/>
          </p:cNvPicPr>
          <p:nvPr userDrawn="1"/>
        </p:nvPicPr>
        <p:blipFill>
          <a:blip r:embed="rId3"/>
          <a:stretch>
            <a:fillRect/>
          </a:stretch>
        </p:blipFill>
        <p:spPr>
          <a:xfrm>
            <a:off x="6285515" y="931641"/>
            <a:ext cx="1490419" cy="1663602"/>
          </a:xfrm>
          <a:prstGeom prst="rect">
            <a:avLst/>
          </a:prstGeom>
        </p:spPr>
      </p:pic>
      <p:pic>
        <p:nvPicPr>
          <p:cNvPr id="10" name="Picture 9"/>
          <p:cNvPicPr>
            <a:picLocks noChangeAspect="1"/>
          </p:cNvPicPr>
          <p:nvPr userDrawn="1"/>
        </p:nvPicPr>
        <p:blipFill>
          <a:blip r:embed="rId3"/>
          <a:stretch>
            <a:fillRect/>
          </a:stretch>
        </p:blipFill>
        <p:spPr>
          <a:xfrm>
            <a:off x="5481116" y="2375686"/>
            <a:ext cx="1490419" cy="1663602"/>
          </a:xfrm>
          <a:prstGeom prst="rect">
            <a:avLst/>
          </a:prstGeom>
        </p:spPr>
      </p:pic>
      <p:pic>
        <p:nvPicPr>
          <p:cNvPr id="11" name="Picture 10"/>
          <p:cNvPicPr>
            <a:picLocks noChangeAspect="1"/>
          </p:cNvPicPr>
          <p:nvPr userDrawn="1"/>
        </p:nvPicPr>
        <p:blipFill>
          <a:blip r:embed="rId2"/>
          <a:stretch>
            <a:fillRect/>
          </a:stretch>
        </p:blipFill>
        <p:spPr>
          <a:xfrm>
            <a:off x="7117221" y="2369053"/>
            <a:ext cx="1490419" cy="1663602"/>
          </a:xfrm>
          <a:prstGeom prst="rect">
            <a:avLst/>
          </a:prstGeom>
        </p:spPr>
      </p:pic>
      <p:sp>
        <p:nvSpPr>
          <p:cNvPr id="12"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
        <p:nvSpPr>
          <p:cNvPr id="17" name="Text Placeholder 16"/>
          <p:cNvSpPr>
            <a:spLocks noGrp="1"/>
          </p:cNvSpPr>
          <p:nvPr>
            <p:ph type="body" sz="quarter" idx="12" hasCustomPrompt="1"/>
          </p:nvPr>
        </p:nvSpPr>
        <p:spPr>
          <a:xfrm>
            <a:off x="4633588" y="122770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18" name="Text Placeholder 16"/>
          <p:cNvSpPr>
            <a:spLocks noGrp="1"/>
          </p:cNvSpPr>
          <p:nvPr>
            <p:ph type="body" sz="quarter" idx="13" hasCustomPrompt="1"/>
          </p:nvPr>
        </p:nvSpPr>
        <p:spPr>
          <a:xfrm>
            <a:off x="6285516" y="122770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19" name="Text Placeholder 16"/>
          <p:cNvSpPr>
            <a:spLocks noGrp="1"/>
          </p:cNvSpPr>
          <p:nvPr>
            <p:ph type="body" sz="quarter" idx="14" hasCustomPrompt="1"/>
          </p:nvPr>
        </p:nvSpPr>
        <p:spPr>
          <a:xfrm>
            <a:off x="7117223" y="2665802"/>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20" name="Text Placeholder 16"/>
          <p:cNvSpPr>
            <a:spLocks noGrp="1"/>
          </p:cNvSpPr>
          <p:nvPr>
            <p:ph type="body" sz="quarter" idx="15" hasCustomPrompt="1"/>
          </p:nvPr>
        </p:nvSpPr>
        <p:spPr>
          <a:xfrm>
            <a:off x="5481117" y="267243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21" name="Text Placeholder 16"/>
          <p:cNvSpPr>
            <a:spLocks noGrp="1"/>
          </p:cNvSpPr>
          <p:nvPr>
            <p:ph type="body" sz="quarter" idx="16" hasCustomPrompt="1"/>
          </p:nvPr>
        </p:nvSpPr>
        <p:spPr>
          <a:xfrm>
            <a:off x="4633588" y="1882298"/>
            <a:ext cx="1490418" cy="600669"/>
          </a:xfrm>
          <a:prstGeom prst="rect">
            <a:avLst/>
          </a:prstGeom>
        </p:spPr>
        <p:txBody>
          <a:bodyPr/>
          <a:lstStyle>
            <a:lvl1pPr marL="0" indent="0" algn="ctr">
              <a:lnSpc>
                <a:spcPct val="70000"/>
              </a:lnSpc>
              <a:buFontTx/>
              <a:buNone/>
              <a:defRPr sz="700" b="0">
                <a:solidFill>
                  <a:schemeClr val="bg1"/>
                </a:solidFill>
              </a:defRPr>
            </a:lvl1pPr>
          </a:lstStyle>
          <a:p>
            <a:pPr lvl="0"/>
            <a:r>
              <a:rPr lang="en-US" dirty="0" smtClean="0"/>
              <a:t>26% customer activity rate among</a:t>
            </a:r>
            <a:endParaRPr lang="en-US" dirty="0"/>
          </a:p>
        </p:txBody>
      </p:sp>
      <p:sp>
        <p:nvSpPr>
          <p:cNvPr id="22" name="Text Placeholder 16"/>
          <p:cNvSpPr>
            <a:spLocks noGrp="1"/>
          </p:cNvSpPr>
          <p:nvPr>
            <p:ph type="body" sz="quarter" idx="17" hasCustomPrompt="1"/>
          </p:nvPr>
        </p:nvSpPr>
        <p:spPr>
          <a:xfrm>
            <a:off x="6285515" y="1882298"/>
            <a:ext cx="1490418" cy="600669"/>
          </a:xfrm>
          <a:prstGeom prst="rect">
            <a:avLst/>
          </a:prstGeom>
        </p:spPr>
        <p:txBody>
          <a:bodyPr/>
          <a:lstStyle>
            <a:lvl1pPr marL="0" indent="0" algn="ctr">
              <a:lnSpc>
                <a:spcPct val="70000"/>
              </a:lnSpc>
              <a:buFontTx/>
              <a:buNone/>
              <a:defRPr sz="700" b="0">
                <a:solidFill>
                  <a:srgbClr val="193C6C"/>
                </a:solidFill>
              </a:defRPr>
            </a:lvl1pPr>
          </a:lstStyle>
          <a:p>
            <a:pPr lvl="0"/>
            <a:r>
              <a:rPr lang="en-US" dirty="0" smtClean="0"/>
              <a:t>26% customer activity rate among</a:t>
            </a:r>
            <a:endParaRPr lang="en-US" dirty="0"/>
          </a:p>
        </p:txBody>
      </p:sp>
      <p:sp>
        <p:nvSpPr>
          <p:cNvPr id="23" name="Text Placeholder 16"/>
          <p:cNvSpPr>
            <a:spLocks noGrp="1"/>
          </p:cNvSpPr>
          <p:nvPr>
            <p:ph type="body" sz="quarter" idx="18" hasCustomPrompt="1"/>
          </p:nvPr>
        </p:nvSpPr>
        <p:spPr>
          <a:xfrm>
            <a:off x="7109322" y="3329190"/>
            <a:ext cx="1490418" cy="546063"/>
          </a:xfrm>
          <a:prstGeom prst="rect">
            <a:avLst/>
          </a:prstGeom>
        </p:spPr>
        <p:txBody>
          <a:bodyPr/>
          <a:lstStyle>
            <a:lvl1pPr marL="0" indent="0" algn="ctr">
              <a:lnSpc>
                <a:spcPct val="70000"/>
              </a:lnSpc>
              <a:buFontTx/>
              <a:buNone/>
              <a:defRPr sz="700" b="0">
                <a:solidFill>
                  <a:schemeClr val="bg1"/>
                </a:solidFill>
              </a:defRPr>
            </a:lvl1pPr>
          </a:lstStyle>
          <a:p>
            <a:pPr lvl="0"/>
            <a:r>
              <a:rPr lang="en-US" dirty="0" smtClean="0"/>
              <a:t>26% customer activity rate among</a:t>
            </a:r>
            <a:endParaRPr lang="en-US" dirty="0"/>
          </a:p>
        </p:txBody>
      </p:sp>
      <p:sp>
        <p:nvSpPr>
          <p:cNvPr id="24" name="Text Placeholder 16"/>
          <p:cNvSpPr>
            <a:spLocks noGrp="1"/>
          </p:cNvSpPr>
          <p:nvPr>
            <p:ph type="body" sz="quarter" idx="19" hasCustomPrompt="1"/>
          </p:nvPr>
        </p:nvSpPr>
        <p:spPr>
          <a:xfrm>
            <a:off x="5489017" y="3335823"/>
            <a:ext cx="1490418" cy="546063"/>
          </a:xfrm>
          <a:prstGeom prst="rect">
            <a:avLst/>
          </a:prstGeom>
        </p:spPr>
        <p:txBody>
          <a:bodyPr/>
          <a:lstStyle>
            <a:lvl1pPr marL="0" indent="0" algn="ctr">
              <a:lnSpc>
                <a:spcPct val="70000"/>
              </a:lnSpc>
              <a:buFontTx/>
              <a:buNone/>
              <a:defRPr sz="700" b="0">
                <a:solidFill>
                  <a:srgbClr val="193C6C"/>
                </a:solidFill>
              </a:defRPr>
            </a:lvl1pPr>
          </a:lstStyle>
          <a:p>
            <a:pPr lvl="0"/>
            <a:r>
              <a:rPr lang="en-US" dirty="0" smtClean="0"/>
              <a:t>26% customer activity rate among</a:t>
            </a:r>
            <a:endParaRPr lang="en-US" dirty="0"/>
          </a:p>
        </p:txBody>
      </p:sp>
    </p:spTree>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308853"/>
            <a:ext cx="4038600" cy="2899005"/>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876804"/>
            <a:ext cx="4038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sp>
        <p:nvSpPr>
          <p:cNvPr id="12"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
        <p:nvSpPr>
          <p:cNvPr id="17" name="Text Placeholder 16"/>
          <p:cNvSpPr>
            <a:spLocks noGrp="1"/>
          </p:cNvSpPr>
          <p:nvPr>
            <p:ph type="body" sz="quarter" idx="12" hasCustomPrompt="1"/>
          </p:nvPr>
        </p:nvSpPr>
        <p:spPr>
          <a:xfrm>
            <a:off x="4633588" y="122770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18" name="Text Placeholder 16"/>
          <p:cNvSpPr>
            <a:spLocks noGrp="1"/>
          </p:cNvSpPr>
          <p:nvPr>
            <p:ph type="body" sz="quarter" idx="13" hasCustomPrompt="1"/>
          </p:nvPr>
        </p:nvSpPr>
        <p:spPr>
          <a:xfrm>
            <a:off x="6285516" y="122770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19" name="Text Placeholder 16"/>
          <p:cNvSpPr>
            <a:spLocks noGrp="1"/>
          </p:cNvSpPr>
          <p:nvPr>
            <p:ph type="body" sz="quarter" idx="14" hasCustomPrompt="1"/>
          </p:nvPr>
        </p:nvSpPr>
        <p:spPr>
          <a:xfrm>
            <a:off x="7117223" y="2665802"/>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20" name="Text Placeholder 16"/>
          <p:cNvSpPr>
            <a:spLocks noGrp="1"/>
          </p:cNvSpPr>
          <p:nvPr>
            <p:ph type="body" sz="quarter" idx="15" hasCustomPrompt="1"/>
          </p:nvPr>
        </p:nvSpPr>
        <p:spPr>
          <a:xfrm>
            <a:off x="5481117" y="267243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21" name="Text Placeholder 16"/>
          <p:cNvSpPr>
            <a:spLocks noGrp="1"/>
          </p:cNvSpPr>
          <p:nvPr>
            <p:ph type="body" sz="quarter" idx="16" hasCustomPrompt="1"/>
          </p:nvPr>
        </p:nvSpPr>
        <p:spPr>
          <a:xfrm>
            <a:off x="4633588" y="1882298"/>
            <a:ext cx="1490418" cy="600669"/>
          </a:xfrm>
          <a:prstGeom prst="rect">
            <a:avLst/>
          </a:prstGeom>
        </p:spPr>
        <p:txBody>
          <a:bodyPr/>
          <a:lstStyle>
            <a:lvl1pPr marL="0" indent="0" algn="ctr">
              <a:lnSpc>
                <a:spcPct val="70000"/>
              </a:lnSpc>
              <a:buFontTx/>
              <a:buNone/>
              <a:defRPr sz="700" b="0">
                <a:solidFill>
                  <a:schemeClr val="bg1"/>
                </a:solidFill>
              </a:defRPr>
            </a:lvl1pPr>
          </a:lstStyle>
          <a:p>
            <a:pPr lvl="0"/>
            <a:r>
              <a:rPr lang="en-US" dirty="0" smtClean="0"/>
              <a:t>26% customer activity rate among</a:t>
            </a:r>
            <a:endParaRPr lang="en-US" dirty="0"/>
          </a:p>
        </p:txBody>
      </p:sp>
      <p:sp>
        <p:nvSpPr>
          <p:cNvPr id="22" name="Text Placeholder 16"/>
          <p:cNvSpPr>
            <a:spLocks noGrp="1"/>
          </p:cNvSpPr>
          <p:nvPr>
            <p:ph type="body" sz="quarter" idx="17" hasCustomPrompt="1"/>
          </p:nvPr>
        </p:nvSpPr>
        <p:spPr>
          <a:xfrm>
            <a:off x="6285515" y="1882298"/>
            <a:ext cx="1490418" cy="600669"/>
          </a:xfrm>
          <a:prstGeom prst="rect">
            <a:avLst/>
          </a:prstGeom>
        </p:spPr>
        <p:txBody>
          <a:bodyPr/>
          <a:lstStyle>
            <a:lvl1pPr marL="0" indent="0" algn="ctr">
              <a:lnSpc>
                <a:spcPct val="70000"/>
              </a:lnSpc>
              <a:buFontTx/>
              <a:buNone/>
              <a:defRPr sz="700" b="0">
                <a:solidFill>
                  <a:srgbClr val="193C6C"/>
                </a:solidFill>
              </a:defRPr>
            </a:lvl1pPr>
          </a:lstStyle>
          <a:p>
            <a:pPr lvl="0"/>
            <a:r>
              <a:rPr lang="en-US" dirty="0" smtClean="0"/>
              <a:t>26% customer activity rate among</a:t>
            </a:r>
            <a:endParaRPr lang="en-US" dirty="0"/>
          </a:p>
        </p:txBody>
      </p:sp>
      <p:sp>
        <p:nvSpPr>
          <p:cNvPr id="23" name="Text Placeholder 16"/>
          <p:cNvSpPr>
            <a:spLocks noGrp="1"/>
          </p:cNvSpPr>
          <p:nvPr>
            <p:ph type="body" sz="quarter" idx="18" hasCustomPrompt="1"/>
          </p:nvPr>
        </p:nvSpPr>
        <p:spPr>
          <a:xfrm>
            <a:off x="7109322" y="3329190"/>
            <a:ext cx="1490418" cy="546063"/>
          </a:xfrm>
          <a:prstGeom prst="rect">
            <a:avLst/>
          </a:prstGeom>
        </p:spPr>
        <p:txBody>
          <a:bodyPr/>
          <a:lstStyle>
            <a:lvl1pPr marL="0" indent="0" algn="ctr">
              <a:lnSpc>
                <a:spcPct val="70000"/>
              </a:lnSpc>
              <a:buFontTx/>
              <a:buNone/>
              <a:defRPr sz="700" b="0">
                <a:solidFill>
                  <a:schemeClr val="bg1"/>
                </a:solidFill>
              </a:defRPr>
            </a:lvl1pPr>
          </a:lstStyle>
          <a:p>
            <a:pPr lvl="0"/>
            <a:r>
              <a:rPr lang="en-US" dirty="0" smtClean="0"/>
              <a:t>26% customer activity rate among</a:t>
            </a:r>
            <a:endParaRPr lang="en-US" dirty="0"/>
          </a:p>
        </p:txBody>
      </p:sp>
      <p:sp>
        <p:nvSpPr>
          <p:cNvPr id="24" name="Text Placeholder 16"/>
          <p:cNvSpPr>
            <a:spLocks noGrp="1"/>
          </p:cNvSpPr>
          <p:nvPr>
            <p:ph type="body" sz="quarter" idx="19" hasCustomPrompt="1"/>
          </p:nvPr>
        </p:nvSpPr>
        <p:spPr>
          <a:xfrm>
            <a:off x="5489017" y="3335823"/>
            <a:ext cx="1490418" cy="546063"/>
          </a:xfrm>
          <a:prstGeom prst="rect">
            <a:avLst/>
          </a:prstGeom>
        </p:spPr>
        <p:txBody>
          <a:bodyPr/>
          <a:lstStyle>
            <a:lvl1pPr marL="0" indent="0" algn="ctr">
              <a:lnSpc>
                <a:spcPct val="70000"/>
              </a:lnSpc>
              <a:buFontTx/>
              <a:buNone/>
              <a:defRPr sz="700" b="0">
                <a:solidFill>
                  <a:srgbClr val="193C6C"/>
                </a:solidFill>
              </a:defRPr>
            </a:lvl1pPr>
          </a:lstStyle>
          <a:p>
            <a:pPr lvl="0"/>
            <a:r>
              <a:rPr lang="en-US" dirty="0" smtClean="0"/>
              <a:t>26% customer activity rate among</a:t>
            </a:r>
            <a:endParaRPr lang="en-US" dirty="0"/>
          </a:p>
        </p:txBody>
      </p:sp>
    </p:spTree>
    <p:extLst>
      <p:ext uri="{BB962C8B-B14F-4D97-AF65-F5344CB8AC3E}">
        <p14:creationId xmlns:p14="http://schemas.microsoft.com/office/powerpoint/2010/main" val="232116684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a:xfrm>
            <a:off x="4735102" y="-618"/>
            <a:ext cx="4408897" cy="4905993"/>
          </a:xfrm>
          <a:custGeom>
            <a:avLst/>
            <a:gdLst>
              <a:gd name="connsiteX0" fmla="*/ 0 w 4391025"/>
              <a:gd name="connsiteY0" fmla="*/ 0 h 4905375"/>
              <a:gd name="connsiteX1" fmla="*/ 4391025 w 4391025"/>
              <a:gd name="connsiteY1" fmla="*/ 0 h 4905375"/>
              <a:gd name="connsiteX2" fmla="*/ 4391025 w 4391025"/>
              <a:gd name="connsiteY2" fmla="*/ 4905375 h 4905375"/>
              <a:gd name="connsiteX3" fmla="*/ 0 w 4391025"/>
              <a:gd name="connsiteY3" fmla="*/ 4905375 h 4905375"/>
              <a:gd name="connsiteX4" fmla="*/ 0 w 4391025"/>
              <a:gd name="connsiteY4" fmla="*/ 0 h 4905375"/>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906162 w 4391025"/>
              <a:gd name="connsiteY4"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809625 w 4391025"/>
              <a:gd name="connsiteY4" fmla="*/ 54163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687705 w 4391025"/>
              <a:gd name="connsiteY4" fmla="*/ 32827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432435 w 4391025"/>
              <a:gd name="connsiteY4" fmla="*/ 19970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32385 w 4391025"/>
              <a:gd name="connsiteY4" fmla="*/ 25685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7145 w 4391025"/>
              <a:gd name="connsiteY4" fmla="*/ 3475338 h 4913613"/>
              <a:gd name="connsiteX5" fmla="*/ 32385 w 4391025"/>
              <a:gd name="connsiteY5" fmla="*/ 2568558 h 4913613"/>
              <a:gd name="connsiteX6" fmla="*/ 687705 w 4391025"/>
              <a:gd name="connsiteY6" fmla="*/ 328278 h 4913613"/>
              <a:gd name="connsiteX7" fmla="*/ 906162 w 4391025"/>
              <a:gd name="connsiteY7"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27635 w 4391025"/>
              <a:gd name="connsiteY4" fmla="*/ 3220068 h 4913613"/>
              <a:gd name="connsiteX5" fmla="*/ 32385 w 4391025"/>
              <a:gd name="connsiteY5" fmla="*/ 2568558 h 4913613"/>
              <a:gd name="connsiteX6" fmla="*/ 687705 w 4391025"/>
              <a:gd name="connsiteY6" fmla="*/ 328278 h 4913613"/>
              <a:gd name="connsiteX7" fmla="*/ 906162 w 4391025"/>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5250 w 4358640"/>
              <a:gd name="connsiteY4" fmla="*/ 3220068 h 4913613"/>
              <a:gd name="connsiteX5" fmla="*/ 0 w 4358640"/>
              <a:gd name="connsiteY5" fmla="*/ 2568558 h 4913613"/>
              <a:gd name="connsiteX6" fmla="*/ 655320 w 4358640"/>
              <a:gd name="connsiteY6" fmla="*/ 328278 h 4913613"/>
              <a:gd name="connsiteX7" fmla="*/ 873777 w 4358640"/>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1440 w 4358640"/>
              <a:gd name="connsiteY4" fmla="*/ 3204828 h 4913613"/>
              <a:gd name="connsiteX5" fmla="*/ 0 w 4358640"/>
              <a:gd name="connsiteY5" fmla="*/ 2568558 h 4913613"/>
              <a:gd name="connsiteX6" fmla="*/ 655320 w 4358640"/>
              <a:gd name="connsiteY6" fmla="*/ 328278 h 4913613"/>
              <a:gd name="connsiteX7" fmla="*/ 873777 w 4358640"/>
              <a:gd name="connsiteY7" fmla="*/ 0 h 4913613"/>
              <a:gd name="connsiteX0" fmla="*/ 881147 w 4366010"/>
              <a:gd name="connsiteY0" fmla="*/ 0 h 4913613"/>
              <a:gd name="connsiteX1" fmla="*/ 4366010 w 4366010"/>
              <a:gd name="connsiteY1" fmla="*/ 8238 h 4913613"/>
              <a:gd name="connsiteX2" fmla="*/ 4366010 w 4366010"/>
              <a:gd name="connsiteY2" fmla="*/ 4913613 h 4913613"/>
              <a:gd name="connsiteX3" fmla="*/ 1617095 w 4366010"/>
              <a:gd name="connsiteY3" fmla="*/ 4780263 h 4913613"/>
              <a:gd name="connsiteX4" fmla="*/ 98810 w 4366010"/>
              <a:gd name="connsiteY4" fmla="*/ 3204828 h 4913613"/>
              <a:gd name="connsiteX5" fmla="*/ 7370 w 4366010"/>
              <a:gd name="connsiteY5" fmla="*/ 2568558 h 4913613"/>
              <a:gd name="connsiteX6" fmla="*/ 662690 w 4366010"/>
              <a:gd name="connsiteY6" fmla="*/ 328278 h 4913613"/>
              <a:gd name="connsiteX7" fmla="*/ 881147 w 4366010"/>
              <a:gd name="connsiteY7" fmla="*/ 0 h 4913613"/>
              <a:gd name="connsiteX0" fmla="*/ 915784 w 4400647"/>
              <a:gd name="connsiteY0" fmla="*/ 0 h 4913613"/>
              <a:gd name="connsiteX1" fmla="*/ 4400647 w 4400647"/>
              <a:gd name="connsiteY1" fmla="*/ 8238 h 4913613"/>
              <a:gd name="connsiteX2" fmla="*/ 4400647 w 4400647"/>
              <a:gd name="connsiteY2" fmla="*/ 4913613 h 4913613"/>
              <a:gd name="connsiteX3" fmla="*/ 1651732 w 4400647"/>
              <a:gd name="connsiteY3" fmla="*/ 4780263 h 4913613"/>
              <a:gd name="connsiteX4" fmla="*/ 133447 w 4400647"/>
              <a:gd name="connsiteY4" fmla="*/ 3204828 h 4913613"/>
              <a:gd name="connsiteX5" fmla="*/ 42007 w 4400647"/>
              <a:gd name="connsiteY5" fmla="*/ 2568558 h 4913613"/>
              <a:gd name="connsiteX6" fmla="*/ 697327 w 4400647"/>
              <a:gd name="connsiteY6" fmla="*/ 328278 h 4913613"/>
              <a:gd name="connsiteX7" fmla="*/ 915784 w 4400647"/>
              <a:gd name="connsiteY7" fmla="*/ 0 h 491361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28216 w 4397839"/>
              <a:gd name="connsiteY0" fmla="*/ 0 h 4905993"/>
              <a:gd name="connsiteX1" fmla="*/ 4397839 w 4397839"/>
              <a:gd name="connsiteY1" fmla="*/ 618 h 4905993"/>
              <a:gd name="connsiteX2" fmla="*/ 4397839 w 4397839"/>
              <a:gd name="connsiteY2" fmla="*/ 4905993 h 4905993"/>
              <a:gd name="connsiteX3" fmla="*/ 1648924 w 4397839"/>
              <a:gd name="connsiteY3" fmla="*/ 4772643 h 4905993"/>
              <a:gd name="connsiteX4" fmla="*/ 138259 w 4397839"/>
              <a:gd name="connsiteY4" fmla="*/ 3208638 h 4905993"/>
              <a:gd name="connsiteX5" fmla="*/ 39199 w 4397839"/>
              <a:gd name="connsiteY5" fmla="*/ 2560938 h 4905993"/>
              <a:gd name="connsiteX6" fmla="*/ 694519 w 4397839"/>
              <a:gd name="connsiteY6" fmla="*/ 320658 h 4905993"/>
              <a:gd name="connsiteX7" fmla="*/ 928216 w 4397839"/>
              <a:gd name="connsiteY7" fmla="*/ 0 h 4905993"/>
              <a:gd name="connsiteX0" fmla="*/ 931629 w 4401252"/>
              <a:gd name="connsiteY0" fmla="*/ 0 h 4905993"/>
              <a:gd name="connsiteX1" fmla="*/ 4401252 w 4401252"/>
              <a:gd name="connsiteY1" fmla="*/ 618 h 4905993"/>
              <a:gd name="connsiteX2" fmla="*/ 4401252 w 4401252"/>
              <a:gd name="connsiteY2" fmla="*/ 4905993 h 4905993"/>
              <a:gd name="connsiteX3" fmla="*/ 1652337 w 4401252"/>
              <a:gd name="connsiteY3" fmla="*/ 4772643 h 4905993"/>
              <a:gd name="connsiteX4" fmla="*/ 141672 w 4401252"/>
              <a:gd name="connsiteY4" fmla="*/ 3208638 h 4905993"/>
              <a:gd name="connsiteX5" fmla="*/ 42612 w 4401252"/>
              <a:gd name="connsiteY5" fmla="*/ 2560938 h 4905993"/>
              <a:gd name="connsiteX6" fmla="*/ 697932 w 4401252"/>
              <a:gd name="connsiteY6" fmla="*/ 320658 h 4905993"/>
              <a:gd name="connsiteX7" fmla="*/ 931629 w 4401252"/>
              <a:gd name="connsiteY7" fmla="*/ 0 h 4905993"/>
              <a:gd name="connsiteX0" fmla="*/ 937706 w 4407329"/>
              <a:gd name="connsiteY0" fmla="*/ 0 h 4905993"/>
              <a:gd name="connsiteX1" fmla="*/ 4407329 w 4407329"/>
              <a:gd name="connsiteY1" fmla="*/ 618 h 4905993"/>
              <a:gd name="connsiteX2" fmla="*/ 4407329 w 4407329"/>
              <a:gd name="connsiteY2" fmla="*/ 4905993 h 4905993"/>
              <a:gd name="connsiteX3" fmla="*/ 1658414 w 4407329"/>
              <a:gd name="connsiteY3" fmla="*/ 4772643 h 4905993"/>
              <a:gd name="connsiteX4" fmla="*/ 147749 w 4407329"/>
              <a:gd name="connsiteY4" fmla="*/ 3208638 h 4905993"/>
              <a:gd name="connsiteX5" fmla="*/ 48689 w 4407329"/>
              <a:gd name="connsiteY5" fmla="*/ 2560938 h 4905993"/>
              <a:gd name="connsiteX6" fmla="*/ 704009 w 4407329"/>
              <a:gd name="connsiteY6" fmla="*/ 320658 h 4905993"/>
              <a:gd name="connsiteX7" fmla="*/ 937706 w 4407329"/>
              <a:gd name="connsiteY7" fmla="*/ 0 h 4905993"/>
              <a:gd name="connsiteX0" fmla="*/ 939274 w 4408897"/>
              <a:gd name="connsiteY0" fmla="*/ 0 h 4905993"/>
              <a:gd name="connsiteX1" fmla="*/ 4408897 w 4408897"/>
              <a:gd name="connsiteY1" fmla="*/ 618 h 4905993"/>
              <a:gd name="connsiteX2" fmla="*/ 4408897 w 4408897"/>
              <a:gd name="connsiteY2" fmla="*/ 4905993 h 4905993"/>
              <a:gd name="connsiteX3" fmla="*/ 1659982 w 4408897"/>
              <a:gd name="connsiteY3" fmla="*/ 4772643 h 4905993"/>
              <a:gd name="connsiteX4" fmla="*/ 149317 w 4408897"/>
              <a:gd name="connsiteY4" fmla="*/ 3208638 h 4905993"/>
              <a:gd name="connsiteX5" fmla="*/ 50257 w 4408897"/>
              <a:gd name="connsiteY5" fmla="*/ 2560938 h 4905993"/>
              <a:gd name="connsiteX6" fmla="*/ 705577 w 4408897"/>
              <a:gd name="connsiteY6" fmla="*/ 320658 h 4905993"/>
              <a:gd name="connsiteX7" fmla="*/ 939274 w 4408897"/>
              <a:gd name="connsiteY7" fmla="*/ 0 h 490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8897" h="4905993">
                <a:moveTo>
                  <a:pt x="939274" y="0"/>
                </a:moveTo>
                <a:lnTo>
                  <a:pt x="4408897" y="618"/>
                </a:lnTo>
                <a:lnTo>
                  <a:pt x="4408897" y="4905993"/>
                </a:lnTo>
                <a:lnTo>
                  <a:pt x="1659982" y="4772643"/>
                </a:lnTo>
                <a:lnTo>
                  <a:pt x="149317" y="3208638"/>
                </a:lnTo>
                <a:cubicBezTo>
                  <a:pt x="-52613" y="2977498"/>
                  <a:pt x="-10703" y="2757788"/>
                  <a:pt x="50257" y="2560938"/>
                </a:cubicBezTo>
                <a:lnTo>
                  <a:pt x="705577" y="320658"/>
                </a:lnTo>
                <a:cubicBezTo>
                  <a:pt x="752996" y="183292"/>
                  <a:pt x="823275" y="91646"/>
                  <a:pt x="939274" y="0"/>
                </a:cubicBezTo>
                <a:close/>
              </a:path>
            </a:pathLst>
          </a:custGeom>
        </p:spPr>
        <p:txBody>
          <a:bodyPr anchor="ctr"/>
          <a:lstStyle>
            <a:lvl1pPr algn="ctr">
              <a:defRPr/>
            </a:lvl1pPr>
          </a:lstStyle>
          <a:p>
            <a:endParaRPr lang="en-US" dirty="0"/>
          </a:p>
        </p:txBody>
      </p:sp>
      <p:sp>
        <p:nvSpPr>
          <p:cNvPr id="3" name="Content Placeholder 2"/>
          <p:cNvSpPr>
            <a:spLocks noGrp="1"/>
          </p:cNvSpPr>
          <p:nvPr>
            <p:ph sz="half" idx="1"/>
          </p:nvPr>
        </p:nvSpPr>
        <p:spPr>
          <a:xfrm>
            <a:off x="457200" y="1308105"/>
            <a:ext cx="4038600" cy="2899753"/>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876056"/>
            <a:ext cx="4038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pic>
        <p:nvPicPr>
          <p:cNvPr id="16" name="Picture 15"/>
          <p:cNvPicPr>
            <a:picLocks noChangeAspect="1"/>
          </p:cNvPicPr>
          <p:nvPr userDrawn="1"/>
        </p:nvPicPr>
        <p:blipFill>
          <a:blip r:embed="rId2"/>
          <a:stretch>
            <a:fillRect/>
          </a:stretch>
        </p:blipFill>
        <p:spPr>
          <a:xfrm>
            <a:off x="5874818" y="4276166"/>
            <a:ext cx="3269181" cy="867334"/>
          </a:xfrm>
          <a:prstGeom prst="rect">
            <a:avLst/>
          </a:prstGeom>
        </p:spPr>
      </p:pic>
      <p:sp>
        <p:nvSpPr>
          <p:cNvPr id="17"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spTree>
    <p:extLst>
      <p:ext uri="{BB962C8B-B14F-4D97-AF65-F5344CB8AC3E}">
        <p14:creationId xmlns:p14="http://schemas.microsoft.com/office/powerpoint/2010/main" val="389375866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3594537" y="1366081"/>
            <a:ext cx="4595647" cy="3142844"/>
          </a:xfrm>
          <a:prstGeom prst="rect">
            <a:avLst/>
          </a:prstGeom>
        </p:spPr>
        <p:txBody>
          <a:bodyPr vert="horz" lIns="91440" tIns="45720" rIns="91440" bIns="45720" rtlCol="0">
            <a:noAutofit/>
          </a:bodyPr>
          <a:lstStyle>
            <a:lvl1pPr marL="0" indent="0">
              <a:buNone/>
              <a:defRPr sz="900" baseline="0">
                <a:solidFill>
                  <a:schemeClr val="tx1"/>
                </a:solidFill>
              </a:defRPr>
            </a:lvl1pPr>
          </a:lstStyle>
          <a:p>
            <a:pPr lvl="0"/>
            <a:r>
              <a:rPr lang="en-JM" dirty="0"/>
              <a:t>Click to insert content</a:t>
            </a:r>
          </a:p>
        </p:txBody>
      </p:sp>
      <p:sp>
        <p:nvSpPr>
          <p:cNvPr id="8" name="Title Placeholder 1"/>
          <p:cNvSpPr>
            <a:spLocks noGrp="1"/>
          </p:cNvSpPr>
          <p:nvPr>
            <p:ph type="title"/>
          </p:nvPr>
        </p:nvSpPr>
        <p:spPr>
          <a:xfrm>
            <a:off x="3594537" y="864630"/>
            <a:ext cx="4595647" cy="432049"/>
          </a:xfrm>
          <a:prstGeom prst="rect">
            <a:avLst/>
          </a:prstGeom>
        </p:spPr>
        <p:txBody>
          <a:bodyPr vert="horz" lIns="91440" tIns="45720" rIns="91440" bIns="45720" rtlCol="0" anchor="t" anchorCtr="0">
            <a:normAutofit/>
          </a:bodyPr>
          <a:lstStyle>
            <a:lvl1pPr>
              <a:defRPr sz="2000">
                <a:solidFill>
                  <a:srgbClr val="00ACD4"/>
                </a:solidFill>
              </a:defRPr>
            </a:lvl1pPr>
          </a:lstStyle>
          <a:p>
            <a:r>
              <a:rPr lang="en-US" dirty="0"/>
              <a:t>Click to edit Master title style</a:t>
            </a:r>
            <a:endParaRPr lang="en-JM" dirty="0"/>
          </a:p>
        </p:txBody>
      </p:sp>
      <p:sp>
        <p:nvSpPr>
          <p:cNvPr id="13" name="Picture Placeholder 12"/>
          <p:cNvSpPr>
            <a:spLocks noGrp="1"/>
          </p:cNvSpPr>
          <p:nvPr>
            <p:ph type="pic" sz="quarter" idx="10"/>
          </p:nvPr>
        </p:nvSpPr>
        <p:spPr>
          <a:xfrm>
            <a:off x="-2796" y="-2604"/>
            <a:ext cx="3362588" cy="5149790"/>
          </a:xfrm>
          <a:custGeom>
            <a:avLst/>
            <a:gdLst>
              <a:gd name="connsiteX0" fmla="*/ 0 w 3359150"/>
              <a:gd name="connsiteY0" fmla="*/ 425100 h 5143500"/>
              <a:gd name="connsiteX1" fmla="*/ 425100 w 3359150"/>
              <a:gd name="connsiteY1" fmla="*/ 0 h 5143500"/>
              <a:gd name="connsiteX2" fmla="*/ 2934050 w 3359150"/>
              <a:gd name="connsiteY2" fmla="*/ 0 h 5143500"/>
              <a:gd name="connsiteX3" fmla="*/ 3359150 w 3359150"/>
              <a:gd name="connsiteY3" fmla="*/ 42510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2934050 w 3359150"/>
              <a:gd name="connsiteY2" fmla="*/ 0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1917015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3261309 w 3686409"/>
              <a:gd name="connsiteY5" fmla="*/ 5143500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2462412 w 3686409"/>
              <a:gd name="connsiteY5" fmla="*/ 4719988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67333"/>
              <a:gd name="connsiteY0" fmla="*/ 425100 h 5143500"/>
              <a:gd name="connsiteX1" fmla="*/ 2244274 w 3667333"/>
              <a:gd name="connsiteY1" fmla="*/ 0 h 5143500"/>
              <a:gd name="connsiteX2" fmla="*/ 3509121 w 3667333"/>
              <a:gd name="connsiteY2" fmla="*/ 1358598 h 5143500"/>
              <a:gd name="connsiteX3" fmla="*/ 3647908 w 3667333"/>
              <a:gd name="connsiteY3" fmla="*/ 2071020 h 5143500"/>
              <a:gd name="connsiteX4" fmla="*/ 3031891 w 3667333"/>
              <a:gd name="connsiteY4" fmla="*/ 4217886 h 5143500"/>
              <a:gd name="connsiteX5" fmla="*/ 2462412 w 3667333"/>
              <a:gd name="connsiteY5" fmla="*/ 4719988 h 5143500"/>
              <a:gd name="connsiteX6" fmla="*/ 752359 w 3667333"/>
              <a:gd name="connsiteY6" fmla="*/ 5143500 h 5143500"/>
              <a:gd name="connsiteX7" fmla="*/ 0 w 3667333"/>
              <a:gd name="connsiteY7" fmla="*/ 3447865 h 5143500"/>
              <a:gd name="connsiteX8" fmla="*/ 327259 w 3667333"/>
              <a:gd name="connsiteY8" fmla="*/ 425100 h 5143500"/>
              <a:gd name="connsiteX0" fmla="*/ 327259 w 3691611"/>
              <a:gd name="connsiteY0" fmla="*/ 425100 h 5143500"/>
              <a:gd name="connsiteX1" fmla="*/ 2244274 w 3691611"/>
              <a:gd name="connsiteY1" fmla="*/ 0 h 5143500"/>
              <a:gd name="connsiteX2" fmla="*/ 3509121 w 3691611"/>
              <a:gd name="connsiteY2" fmla="*/ 1358598 h 5143500"/>
              <a:gd name="connsiteX3" fmla="*/ 3647908 w 3691611"/>
              <a:gd name="connsiteY3" fmla="*/ 2071020 h 5143500"/>
              <a:gd name="connsiteX4" fmla="*/ 3031891 w 3691611"/>
              <a:gd name="connsiteY4" fmla="*/ 4217886 h 5143500"/>
              <a:gd name="connsiteX5" fmla="*/ 2462412 w 3691611"/>
              <a:gd name="connsiteY5" fmla="*/ 4719988 h 5143500"/>
              <a:gd name="connsiteX6" fmla="*/ 752359 w 3691611"/>
              <a:gd name="connsiteY6" fmla="*/ 5143500 h 5143500"/>
              <a:gd name="connsiteX7" fmla="*/ 0 w 3691611"/>
              <a:gd name="connsiteY7" fmla="*/ 3447865 h 5143500"/>
              <a:gd name="connsiteX8" fmla="*/ 327259 w 3691611"/>
              <a:gd name="connsiteY8" fmla="*/ 425100 h 5143500"/>
              <a:gd name="connsiteX0" fmla="*/ 327259 w 3686530"/>
              <a:gd name="connsiteY0" fmla="*/ 425100 h 5143500"/>
              <a:gd name="connsiteX1" fmla="*/ 2244274 w 3686530"/>
              <a:gd name="connsiteY1" fmla="*/ 0 h 5143500"/>
              <a:gd name="connsiteX2" fmla="*/ 3509121 w 3686530"/>
              <a:gd name="connsiteY2" fmla="*/ 1358598 h 5143500"/>
              <a:gd name="connsiteX3" fmla="*/ 3636847 w 3686530"/>
              <a:gd name="connsiteY3" fmla="*/ 2096830 h 5143500"/>
              <a:gd name="connsiteX4" fmla="*/ 3031891 w 3686530"/>
              <a:gd name="connsiteY4" fmla="*/ 4217886 h 5143500"/>
              <a:gd name="connsiteX5" fmla="*/ 2462412 w 3686530"/>
              <a:gd name="connsiteY5" fmla="*/ 4719988 h 5143500"/>
              <a:gd name="connsiteX6" fmla="*/ 752359 w 3686530"/>
              <a:gd name="connsiteY6" fmla="*/ 5143500 h 5143500"/>
              <a:gd name="connsiteX7" fmla="*/ 0 w 3686530"/>
              <a:gd name="connsiteY7" fmla="*/ 3447865 h 5143500"/>
              <a:gd name="connsiteX8" fmla="*/ 327259 w 3686530"/>
              <a:gd name="connsiteY8" fmla="*/ 425100 h 5143500"/>
              <a:gd name="connsiteX0" fmla="*/ 327259 w 3703888"/>
              <a:gd name="connsiteY0" fmla="*/ 425100 h 5143500"/>
              <a:gd name="connsiteX1" fmla="*/ 2244274 w 3703888"/>
              <a:gd name="connsiteY1" fmla="*/ 0 h 5143500"/>
              <a:gd name="connsiteX2" fmla="*/ 3509121 w 3703888"/>
              <a:gd name="connsiteY2" fmla="*/ 1358598 h 5143500"/>
              <a:gd name="connsiteX3" fmla="*/ 3636847 w 3703888"/>
              <a:gd name="connsiteY3" fmla="*/ 2096830 h 5143500"/>
              <a:gd name="connsiteX4" fmla="*/ 3031891 w 3703888"/>
              <a:gd name="connsiteY4" fmla="*/ 4217886 h 5143500"/>
              <a:gd name="connsiteX5" fmla="*/ 2462412 w 3703888"/>
              <a:gd name="connsiteY5" fmla="*/ 4719988 h 5143500"/>
              <a:gd name="connsiteX6" fmla="*/ 752359 w 3703888"/>
              <a:gd name="connsiteY6" fmla="*/ 5143500 h 5143500"/>
              <a:gd name="connsiteX7" fmla="*/ 0 w 3703888"/>
              <a:gd name="connsiteY7" fmla="*/ 3447865 h 5143500"/>
              <a:gd name="connsiteX8" fmla="*/ 327259 w 3703888"/>
              <a:gd name="connsiteY8" fmla="*/ 425100 h 5143500"/>
              <a:gd name="connsiteX0" fmla="*/ 327259 w 3682668"/>
              <a:gd name="connsiteY0" fmla="*/ 425100 h 5143500"/>
              <a:gd name="connsiteX1" fmla="*/ 2244274 w 3682668"/>
              <a:gd name="connsiteY1" fmla="*/ 0 h 5143500"/>
              <a:gd name="connsiteX2" fmla="*/ 3461189 w 3682668"/>
              <a:gd name="connsiteY2" fmla="*/ 1310666 h 5143500"/>
              <a:gd name="connsiteX3" fmla="*/ 3636847 w 3682668"/>
              <a:gd name="connsiteY3" fmla="*/ 2096830 h 5143500"/>
              <a:gd name="connsiteX4" fmla="*/ 3031891 w 3682668"/>
              <a:gd name="connsiteY4" fmla="*/ 4217886 h 5143500"/>
              <a:gd name="connsiteX5" fmla="*/ 2462412 w 3682668"/>
              <a:gd name="connsiteY5" fmla="*/ 4719988 h 5143500"/>
              <a:gd name="connsiteX6" fmla="*/ 752359 w 3682668"/>
              <a:gd name="connsiteY6" fmla="*/ 5143500 h 5143500"/>
              <a:gd name="connsiteX7" fmla="*/ 0 w 3682668"/>
              <a:gd name="connsiteY7" fmla="*/ 3447865 h 5143500"/>
              <a:gd name="connsiteX8" fmla="*/ 327259 w 3682668"/>
              <a:gd name="connsiteY8" fmla="*/ 425100 h 5143500"/>
              <a:gd name="connsiteX0" fmla="*/ 327259 w 3693650"/>
              <a:gd name="connsiteY0" fmla="*/ 425100 h 5143500"/>
              <a:gd name="connsiteX1" fmla="*/ 2244274 w 3693650"/>
              <a:gd name="connsiteY1" fmla="*/ 0 h 5143500"/>
              <a:gd name="connsiteX2" fmla="*/ 3461189 w 3693650"/>
              <a:gd name="connsiteY2" fmla="*/ 1310666 h 5143500"/>
              <a:gd name="connsiteX3" fmla="*/ 3636847 w 3693650"/>
              <a:gd name="connsiteY3" fmla="*/ 2096830 h 5143500"/>
              <a:gd name="connsiteX4" fmla="*/ 3031891 w 3693650"/>
              <a:gd name="connsiteY4" fmla="*/ 4217886 h 5143500"/>
              <a:gd name="connsiteX5" fmla="*/ 2462412 w 3693650"/>
              <a:gd name="connsiteY5" fmla="*/ 4719988 h 5143500"/>
              <a:gd name="connsiteX6" fmla="*/ 752359 w 3693650"/>
              <a:gd name="connsiteY6" fmla="*/ 5143500 h 5143500"/>
              <a:gd name="connsiteX7" fmla="*/ 0 w 3693650"/>
              <a:gd name="connsiteY7" fmla="*/ 3447865 h 5143500"/>
              <a:gd name="connsiteX8" fmla="*/ 327259 w 3693650"/>
              <a:gd name="connsiteY8" fmla="*/ 425100 h 5143500"/>
              <a:gd name="connsiteX0" fmla="*/ 327259 w 3688927"/>
              <a:gd name="connsiteY0" fmla="*/ 425100 h 5143500"/>
              <a:gd name="connsiteX1" fmla="*/ 2244274 w 3688927"/>
              <a:gd name="connsiteY1" fmla="*/ 0 h 5143500"/>
              <a:gd name="connsiteX2" fmla="*/ 3461189 w 3688927"/>
              <a:gd name="connsiteY2" fmla="*/ 1310666 h 5143500"/>
              <a:gd name="connsiteX3" fmla="*/ 3636847 w 3688927"/>
              <a:gd name="connsiteY3" fmla="*/ 2096830 h 5143500"/>
              <a:gd name="connsiteX4" fmla="*/ 3031891 w 3688927"/>
              <a:gd name="connsiteY4" fmla="*/ 4217886 h 5143500"/>
              <a:gd name="connsiteX5" fmla="*/ 2462412 w 3688927"/>
              <a:gd name="connsiteY5" fmla="*/ 4719988 h 5143500"/>
              <a:gd name="connsiteX6" fmla="*/ 752359 w 3688927"/>
              <a:gd name="connsiteY6" fmla="*/ 5143500 h 5143500"/>
              <a:gd name="connsiteX7" fmla="*/ 0 w 3688927"/>
              <a:gd name="connsiteY7" fmla="*/ 3447865 h 5143500"/>
              <a:gd name="connsiteX8" fmla="*/ 327259 w 3688927"/>
              <a:gd name="connsiteY8" fmla="*/ 425100 h 5143500"/>
              <a:gd name="connsiteX0" fmla="*/ 327259 w 3693208"/>
              <a:gd name="connsiteY0" fmla="*/ 425100 h 5143500"/>
              <a:gd name="connsiteX1" fmla="*/ 2244274 w 3693208"/>
              <a:gd name="connsiteY1" fmla="*/ 0 h 5143500"/>
              <a:gd name="connsiteX2" fmla="*/ 3472251 w 3693208"/>
              <a:gd name="connsiteY2" fmla="*/ 1318040 h 5143500"/>
              <a:gd name="connsiteX3" fmla="*/ 3636847 w 3693208"/>
              <a:gd name="connsiteY3" fmla="*/ 2096830 h 5143500"/>
              <a:gd name="connsiteX4" fmla="*/ 3031891 w 3693208"/>
              <a:gd name="connsiteY4" fmla="*/ 4217886 h 5143500"/>
              <a:gd name="connsiteX5" fmla="*/ 2462412 w 3693208"/>
              <a:gd name="connsiteY5" fmla="*/ 4719988 h 5143500"/>
              <a:gd name="connsiteX6" fmla="*/ 752359 w 3693208"/>
              <a:gd name="connsiteY6" fmla="*/ 5143500 h 5143500"/>
              <a:gd name="connsiteX7" fmla="*/ 0 w 3693208"/>
              <a:gd name="connsiteY7" fmla="*/ 3447865 h 5143500"/>
              <a:gd name="connsiteX8" fmla="*/ 327259 w 3693208"/>
              <a:gd name="connsiteY8" fmla="*/ 425100 h 5143500"/>
              <a:gd name="connsiteX0" fmla="*/ 327259 w 3689737"/>
              <a:gd name="connsiteY0" fmla="*/ 425100 h 5143500"/>
              <a:gd name="connsiteX1" fmla="*/ 2244274 w 3689737"/>
              <a:gd name="connsiteY1" fmla="*/ 0 h 5143500"/>
              <a:gd name="connsiteX2" fmla="*/ 3472251 w 3689737"/>
              <a:gd name="connsiteY2" fmla="*/ 1318040 h 5143500"/>
              <a:gd name="connsiteX3" fmla="*/ 3636847 w 3689737"/>
              <a:gd name="connsiteY3" fmla="*/ 2096830 h 5143500"/>
              <a:gd name="connsiteX4" fmla="*/ 3031891 w 3689737"/>
              <a:gd name="connsiteY4" fmla="*/ 4217886 h 5143500"/>
              <a:gd name="connsiteX5" fmla="*/ 2462412 w 3689737"/>
              <a:gd name="connsiteY5" fmla="*/ 4719988 h 5143500"/>
              <a:gd name="connsiteX6" fmla="*/ 752359 w 3689737"/>
              <a:gd name="connsiteY6" fmla="*/ 5143500 h 5143500"/>
              <a:gd name="connsiteX7" fmla="*/ 0 w 3689737"/>
              <a:gd name="connsiteY7" fmla="*/ 3447865 h 5143500"/>
              <a:gd name="connsiteX8" fmla="*/ 327259 w 3689737"/>
              <a:gd name="connsiteY8" fmla="*/ 425100 h 5143500"/>
              <a:gd name="connsiteX0" fmla="*/ 327259 w 3692863"/>
              <a:gd name="connsiteY0" fmla="*/ 425100 h 5143500"/>
              <a:gd name="connsiteX1" fmla="*/ 2244274 w 3692863"/>
              <a:gd name="connsiteY1" fmla="*/ 0 h 5143500"/>
              <a:gd name="connsiteX2" fmla="*/ 3472251 w 3692863"/>
              <a:gd name="connsiteY2" fmla="*/ 1318040 h 5143500"/>
              <a:gd name="connsiteX3" fmla="*/ 3636847 w 3692863"/>
              <a:gd name="connsiteY3" fmla="*/ 2096830 h 5143500"/>
              <a:gd name="connsiteX4" fmla="*/ 3031891 w 3692863"/>
              <a:gd name="connsiteY4" fmla="*/ 4217886 h 5143500"/>
              <a:gd name="connsiteX5" fmla="*/ 2462412 w 3692863"/>
              <a:gd name="connsiteY5" fmla="*/ 4719988 h 5143500"/>
              <a:gd name="connsiteX6" fmla="*/ 752359 w 3692863"/>
              <a:gd name="connsiteY6" fmla="*/ 5143500 h 5143500"/>
              <a:gd name="connsiteX7" fmla="*/ 0 w 3692863"/>
              <a:gd name="connsiteY7" fmla="*/ 3447865 h 5143500"/>
              <a:gd name="connsiteX8" fmla="*/ 327259 w 3692863"/>
              <a:gd name="connsiteY8" fmla="*/ 425100 h 5143500"/>
              <a:gd name="connsiteX0" fmla="*/ 327259 w 3697188"/>
              <a:gd name="connsiteY0" fmla="*/ 425100 h 5143500"/>
              <a:gd name="connsiteX1" fmla="*/ 2244274 w 3697188"/>
              <a:gd name="connsiteY1" fmla="*/ 0 h 5143500"/>
              <a:gd name="connsiteX2" fmla="*/ 3483312 w 3697188"/>
              <a:gd name="connsiteY2" fmla="*/ 1325414 h 5143500"/>
              <a:gd name="connsiteX3" fmla="*/ 3636847 w 3697188"/>
              <a:gd name="connsiteY3" fmla="*/ 2096830 h 5143500"/>
              <a:gd name="connsiteX4" fmla="*/ 3031891 w 3697188"/>
              <a:gd name="connsiteY4" fmla="*/ 4217886 h 5143500"/>
              <a:gd name="connsiteX5" fmla="*/ 2462412 w 3697188"/>
              <a:gd name="connsiteY5" fmla="*/ 4719988 h 5143500"/>
              <a:gd name="connsiteX6" fmla="*/ 752359 w 3697188"/>
              <a:gd name="connsiteY6" fmla="*/ 5143500 h 5143500"/>
              <a:gd name="connsiteX7" fmla="*/ 0 w 3697188"/>
              <a:gd name="connsiteY7" fmla="*/ 3447865 h 5143500"/>
              <a:gd name="connsiteX8" fmla="*/ 327259 w 3697188"/>
              <a:gd name="connsiteY8" fmla="*/ 425100 h 5143500"/>
              <a:gd name="connsiteX0" fmla="*/ 327259 w 3687052"/>
              <a:gd name="connsiteY0" fmla="*/ 425100 h 5143500"/>
              <a:gd name="connsiteX1" fmla="*/ 2244274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63749 w 3423542"/>
              <a:gd name="connsiteY0" fmla="*/ 425100 h 5150874"/>
              <a:gd name="connsiteX1" fmla="*/ 1947580 w 3423542"/>
              <a:gd name="connsiteY1" fmla="*/ 0 h 5150874"/>
              <a:gd name="connsiteX2" fmla="*/ 3219802 w 3423542"/>
              <a:gd name="connsiteY2" fmla="*/ 1325414 h 5150874"/>
              <a:gd name="connsiteX3" fmla="*/ 3373337 w 3423542"/>
              <a:gd name="connsiteY3" fmla="*/ 2096830 h 5150874"/>
              <a:gd name="connsiteX4" fmla="*/ 2749946 w 3423542"/>
              <a:gd name="connsiteY4" fmla="*/ 4225261 h 5150874"/>
              <a:gd name="connsiteX5" fmla="*/ 2198902 w 3423542"/>
              <a:gd name="connsiteY5" fmla="*/ 4719988 h 5150874"/>
              <a:gd name="connsiteX6" fmla="*/ 433542 w 3423542"/>
              <a:gd name="connsiteY6" fmla="*/ 5150874 h 5150874"/>
              <a:gd name="connsiteX7" fmla="*/ 60954 w 3423542"/>
              <a:gd name="connsiteY7" fmla="*/ 5143930 h 5150874"/>
              <a:gd name="connsiteX8" fmla="*/ 63749 w 3423542"/>
              <a:gd name="connsiteY8" fmla="*/ 425100 h 5150874"/>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2795 w 3362588"/>
              <a:gd name="connsiteY0" fmla="*/ 425100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2795 w 3362588"/>
              <a:gd name="connsiteY8" fmla="*/ 425100 h 5147187"/>
              <a:gd name="connsiteX0" fmla="*/ 2795 w 3362588"/>
              <a:gd name="connsiteY0" fmla="*/ 0 h 5160852"/>
              <a:gd name="connsiteX1" fmla="*/ 1886626 w 3362588"/>
              <a:gd name="connsiteY1" fmla="*/ 13665 h 5160852"/>
              <a:gd name="connsiteX2" fmla="*/ 3158848 w 3362588"/>
              <a:gd name="connsiteY2" fmla="*/ 1339079 h 5160852"/>
              <a:gd name="connsiteX3" fmla="*/ 3312383 w 3362588"/>
              <a:gd name="connsiteY3" fmla="*/ 2110495 h 5160852"/>
              <a:gd name="connsiteX4" fmla="*/ 2688992 w 3362588"/>
              <a:gd name="connsiteY4" fmla="*/ 4238926 h 5160852"/>
              <a:gd name="connsiteX5" fmla="*/ 2137948 w 3362588"/>
              <a:gd name="connsiteY5" fmla="*/ 4733653 h 5160852"/>
              <a:gd name="connsiteX6" fmla="*/ 379962 w 3362588"/>
              <a:gd name="connsiteY6" fmla="*/ 5160852 h 5160852"/>
              <a:gd name="connsiteX7" fmla="*/ 0 w 3362588"/>
              <a:gd name="connsiteY7" fmla="*/ 5157595 h 5160852"/>
              <a:gd name="connsiteX8" fmla="*/ 2795 w 3362588"/>
              <a:gd name="connsiteY8" fmla="*/ 0 h 5160852"/>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6482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6482 w 3362588"/>
              <a:gd name="connsiteY8" fmla="*/ 0 h 5149790"/>
              <a:gd name="connsiteX0" fmla="*/ 6482 w 3362588"/>
              <a:gd name="connsiteY0" fmla="*/ 572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6482 w 3362588"/>
              <a:gd name="connsiteY8" fmla="*/ 572 h 5147187"/>
              <a:gd name="connsiteX0" fmla="*/ 132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132 w 3362588"/>
              <a:gd name="connsiteY8" fmla="*/ 3747 h 5147187"/>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3307 w 3362588"/>
              <a:gd name="connsiteY8" fmla="*/ 3747 h 5147187"/>
              <a:gd name="connsiteX0" fmla="*/ 3307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3307 w 3362588"/>
              <a:gd name="connsiteY8" fmla="*/ 0 h 514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2588" h="5149790">
                <a:moveTo>
                  <a:pt x="3307" y="0"/>
                </a:moveTo>
                <a:cubicBezTo>
                  <a:pt x="6994" y="4885"/>
                  <a:pt x="1651850" y="2603"/>
                  <a:pt x="1886626" y="2603"/>
                </a:cubicBezTo>
                <a:lnTo>
                  <a:pt x="3158848" y="1328017"/>
                </a:lnTo>
                <a:cubicBezTo>
                  <a:pt x="3415745" y="1619297"/>
                  <a:pt x="3382438" y="1827787"/>
                  <a:pt x="3312383" y="2099433"/>
                </a:cubicBezTo>
                <a:cubicBezTo>
                  <a:pt x="3139128" y="2654634"/>
                  <a:pt x="2781364" y="3951175"/>
                  <a:pt x="2688992" y="4227864"/>
                </a:cubicBezTo>
                <a:cubicBezTo>
                  <a:pt x="2582066" y="4525320"/>
                  <a:pt x="2475962" y="4619353"/>
                  <a:pt x="2137948" y="4722591"/>
                </a:cubicBezTo>
                <a:lnTo>
                  <a:pt x="379962" y="5149790"/>
                </a:lnTo>
                <a:cubicBezTo>
                  <a:pt x="384848" y="5146103"/>
                  <a:pt x="7374" y="5149022"/>
                  <a:pt x="0" y="5146533"/>
                </a:cubicBezTo>
                <a:cubicBezTo>
                  <a:pt x="3390" y="5151668"/>
                  <a:pt x="3605" y="9614"/>
                  <a:pt x="3307" y="0"/>
                </a:cubicBezTo>
                <a:close/>
              </a:path>
            </a:pathLst>
          </a:custGeom>
        </p:spPr>
        <p:txBody>
          <a:bodyPr anchor="ctr"/>
          <a:lstStyle>
            <a:lvl1pPr algn="ctr">
              <a:defRPr/>
            </a:lvl1pPr>
          </a:lstStyle>
          <a:p>
            <a:endParaRPr lang="en-US"/>
          </a:p>
        </p:txBody>
      </p:sp>
      <p:sp>
        <p:nvSpPr>
          <p:cNvPr id="5" name="Text Placeholder 2"/>
          <p:cNvSpPr>
            <a:spLocks noGrp="1"/>
          </p:cNvSpPr>
          <p:nvPr>
            <p:ph type="body" sz="quarter" idx="11"/>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10" name="Straight Connector 9"/>
          <p:cNvCxnSpPr/>
          <p:nvPr userDrawn="1"/>
        </p:nvCxnSpPr>
        <p:spPr>
          <a:xfrm>
            <a:off x="3594537" y="4314112"/>
            <a:ext cx="3806927"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1" name="Content Placeholder 2"/>
          <p:cNvSpPr>
            <a:spLocks noGrp="1"/>
          </p:cNvSpPr>
          <p:nvPr>
            <p:ph sz="half" idx="12" hasCustomPrompt="1"/>
          </p:nvPr>
        </p:nvSpPr>
        <p:spPr>
          <a:xfrm>
            <a:off x="3594537"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ext uri="{BB962C8B-B14F-4D97-AF65-F5344CB8AC3E}">
        <p14:creationId xmlns:p14="http://schemas.microsoft.com/office/powerpoint/2010/main" val="84069978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Rectangle 1"/>
          <p:cNvSpPr/>
          <p:nvPr userDrawn="1"/>
        </p:nvSpPr>
        <p:spPr>
          <a:xfrm>
            <a:off x="189781" y="189781"/>
            <a:ext cx="1293962" cy="10610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rotWithShape="1">
          <a:blip r:embed="rId2"/>
          <a:srcRect l="43713"/>
          <a:stretch/>
        </p:blipFill>
        <p:spPr>
          <a:xfrm>
            <a:off x="0" y="-18321"/>
            <a:ext cx="9144000" cy="5161823"/>
          </a:xfrm>
          <a:prstGeom prst="rect">
            <a:avLst/>
          </a:prstGeom>
        </p:spPr>
      </p:pic>
      <p:pic>
        <p:nvPicPr>
          <p:cNvPr id="4" name="Picture 3"/>
          <p:cNvPicPr>
            <a:picLocks noChangeAspect="1"/>
          </p:cNvPicPr>
          <p:nvPr userDrawn="1"/>
        </p:nvPicPr>
        <p:blipFill>
          <a:blip r:embed="rId3"/>
          <a:stretch>
            <a:fillRect/>
          </a:stretch>
        </p:blipFill>
        <p:spPr>
          <a:xfrm>
            <a:off x="434104" y="392127"/>
            <a:ext cx="617861" cy="617861"/>
          </a:xfrm>
          <a:prstGeom prst="rect">
            <a:avLst/>
          </a:prstGeom>
        </p:spPr>
      </p:pic>
      <p:sp>
        <p:nvSpPr>
          <p:cNvPr id="5" name="TextBox 4"/>
          <p:cNvSpPr txBox="1"/>
          <p:nvPr userDrawn="1"/>
        </p:nvSpPr>
        <p:spPr>
          <a:xfrm>
            <a:off x="321960" y="4313907"/>
            <a:ext cx="5233451" cy="523220"/>
          </a:xfrm>
          <a:prstGeom prst="rect">
            <a:avLst/>
          </a:prstGeom>
          <a:noFill/>
        </p:spPr>
        <p:txBody>
          <a:bodyPr wrap="square" rtlCol="0">
            <a:spAutoFit/>
          </a:bodyPr>
          <a:lstStyle/>
          <a:p>
            <a:r>
              <a:rPr lang="en-US" sz="1400" dirty="0" smtClean="0">
                <a:solidFill>
                  <a:schemeClr val="bg1"/>
                </a:solidFill>
                <a:latin typeface="Arial" charset="0"/>
                <a:ea typeface="Arial" charset="0"/>
                <a:cs typeface="Arial" charset="0"/>
              </a:rPr>
              <a:t>To download the full report please visit </a:t>
            </a:r>
          </a:p>
          <a:p>
            <a:r>
              <a:rPr lang="en-US" sz="1400" dirty="0" smtClean="0">
                <a:solidFill>
                  <a:schemeClr val="bg1"/>
                </a:solidFill>
                <a:latin typeface="Arial" charset="0"/>
                <a:ea typeface="Arial" charset="0"/>
                <a:cs typeface="Arial" charset="0"/>
              </a:rPr>
              <a:t>the GSMA website at </a:t>
            </a:r>
            <a:r>
              <a:rPr lang="en-US" sz="1400" b="1" dirty="0" err="1" smtClean="0">
                <a:solidFill>
                  <a:schemeClr val="bg1"/>
                </a:solidFill>
                <a:latin typeface="Arial" charset="0"/>
                <a:ea typeface="Arial" charset="0"/>
                <a:cs typeface="Arial" charset="0"/>
              </a:rPr>
              <a:t>www.gsma.com</a:t>
            </a:r>
            <a:r>
              <a:rPr lang="en-US" sz="1400" b="1" dirty="0" smtClean="0">
                <a:solidFill>
                  <a:schemeClr val="bg1"/>
                </a:solidFill>
                <a:latin typeface="Arial" charset="0"/>
                <a:ea typeface="Arial" charset="0"/>
                <a:cs typeface="Arial" charset="0"/>
              </a:rPr>
              <a:t>/</a:t>
            </a:r>
            <a:r>
              <a:rPr lang="en-US" sz="1400" b="1" dirty="0" err="1" smtClean="0">
                <a:solidFill>
                  <a:schemeClr val="bg1"/>
                </a:solidFill>
                <a:latin typeface="Arial" charset="0"/>
                <a:ea typeface="Arial" charset="0"/>
                <a:cs typeface="Arial" charset="0"/>
              </a:rPr>
              <a:t>sotir</a:t>
            </a:r>
            <a:endParaRPr lang="en-US" sz="1400" b="1"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212415165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SMA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893" y="893"/>
          <a:ext cx="893" cy="893"/>
        </p:xfrm>
        <a:graphic>
          <a:graphicData uri="http://schemas.openxmlformats.org/presentationml/2006/ole">
            <mc:AlternateContent xmlns:mc="http://schemas.openxmlformats.org/markup-compatibility/2006">
              <mc:Choice xmlns:v="urn:schemas-microsoft-com:vml" Requires="v">
                <p:oleObj spid="_x0000_s54522" name="think-cell Slide" r:id="rId4" imgW="415" imgH="416" progId="TCLayout.ActiveDocument.1">
                  <p:embed/>
                </p:oleObj>
              </mc:Choice>
              <mc:Fallback>
                <p:oleObj name="think-cell Slide" r:id="rId4" imgW="415" imgH="416" progId="TCLayout.ActiveDocument.1">
                  <p:embed/>
                  <p:pic>
                    <p:nvPicPr>
                      <p:cNvPr id="2" name="Object 1" hidden="1"/>
                      <p:cNvPicPr/>
                      <p:nvPr/>
                    </p:nvPicPr>
                    <p:blipFill>
                      <a:blip r:embed="rId5"/>
                      <a:stretch>
                        <a:fillRect/>
                      </a:stretch>
                    </p:blipFill>
                    <p:spPr>
                      <a:xfrm>
                        <a:off x="893" y="893"/>
                        <a:ext cx="893" cy="893"/>
                      </a:xfrm>
                      <a:prstGeom prst="rect">
                        <a:avLst/>
                      </a:prstGeom>
                    </p:spPr>
                  </p:pic>
                </p:oleObj>
              </mc:Fallback>
            </mc:AlternateContent>
          </a:graphicData>
        </a:graphic>
      </p:graphicFrame>
      <p:sp>
        <p:nvSpPr>
          <p:cNvPr id="6" name="Content Placeholder 13"/>
          <p:cNvSpPr>
            <a:spLocks noGrp="1"/>
          </p:cNvSpPr>
          <p:nvPr>
            <p:ph sz="quarter" idx="14"/>
          </p:nvPr>
        </p:nvSpPr>
        <p:spPr>
          <a:xfrm>
            <a:off x="445770" y="1275589"/>
            <a:ext cx="8158678" cy="3240378"/>
          </a:xfrm>
          <a:prstGeom prst="rect">
            <a:avLst/>
          </a:prstGeom>
        </p:spPr>
        <p:txBody>
          <a:bodyPr>
            <a:normAutofit/>
          </a:bodyPr>
          <a:lstStyle>
            <a:lvl1pPr algn="l">
              <a:buNone/>
              <a:defRPr sz="2000" b="0" i="0">
                <a:solidFill>
                  <a:schemeClr val="tx1"/>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7" name="Title Placeholder 1"/>
          <p:cNvSpPr>
            <a:spLocks noGrp="1"/>
          </p:cNvSpPr>
          <p:nvPr>
            <p:ph type="title"/>
          </p:nvPr>
        </p:nvSpPr>
        <p:spPr>
          <a:xfrm>
            <a:off x="1121676" y="329196"/>
            <a:ext cx="7399312" cy="857250"/>
          </a:xfrm>
          <a:prstGeom prst="rect">
            <a:avLst/>
          </a:prstGeom>
        </p:spPr>
        <p:txBody>
          <a:bodyPr vert="horz" lIns="91440" tIns="45720" rIns="91440" bIns="45720" rtlCol="0" anchor="t" anchorCtr="0">
            <a:normAutofit/>
          </a:bodyPr>
          <a:lstStyle>
            <a:lvl1pPr>
              <a:defRPr sz="28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83849952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SMA Title and Bullete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197114" y="1707654"/>
            <a:ext cx="7399312" cy="2825106"/>
          </a:xfrm>
          <a:prstGeom prst="rect">
            <a:avLst/>
          </a:prstGeom>
        </p:spPr>
        <p:txBody>
          <a:bodyPr/>
          <a:lstStyle>
            <a:lvl1pPr marL="342905" indent="-360005">
              <a:lnSpc>
                <a:spcPct val="120000"/>
              </a:lnSpc>
              <a:spcBef>
                <a:spcPts val="0"/>
              </a:spcBef>
              <a:buClr>
                <a:srgbClr val="E30613"/>
              </a:buClr>
              <a:buSzPct val="90000"/>
              <a:buFont typeface="Wingdings" charset="2"/>
              <a:buChar char="§"/>
              <a:defRPr sz="2400">
                <a:solidFill>
                  <a:schemeClr val="tx1"/>
                </a:solidFill>
              </a:defRPr>
            </a:lvl1pPr>
            <a:lvl2pPr marL="742960" indent="-360005">
              <a:lnSpc>
                <a:spcPct val="120000"/>
              </a:lnSpc>
              <a:spcBef>
                <a:spcPts val="0"/>
              </a:spcBef>
              <a:buClr>
                <a:srgbClr val="E30613"/>
              </a:buClr>
              <a:buSzPct val="90000"/>
              <a:buFont typeface="Wingdings" charset="2"/>
              <a:buChar char="§"/>
              <a:defRPr sz="2000">
                <a:solidFill>
                  <a:schemeClr val="tx1"/>
                </a:solidFill>
              </a:defRPr>
            </a:lvl2pPr>
            <a:lvl3pPr marL="1143014" indent="-360005">
              <a:lnSpc>
                <a:spcPct val="120000"/>
              </a:lnSpc>
              <a:spcBef>
                <a:spcPts val="0"/>
              </a:spcBef>
              <a:buClr>
                <a:srgbClr val="E30613"/>
              </a:buClr>
              <a:buSzPct val="90000"/>
              <a:buFont typeface="Wingdings" charset="2"/>
              <a:buChar char="§"/>
              <a:defRPr sz="1800">
                <a:solidFill>
                  <a:schemeClr val="tx1"/>
                </a:solidFill>
              </a:defRPr>
            </a:lvl3pPr>
            <a:lvl4pPr marL="1600220" indent="-360005">
              <a:lnSpc>
                <a:spcPct val="120000"/>
              </a:lnSpc>
              <a:spcBef>
                <a:spcPts val="0"/>
              </a:spcBef>
              <a:buClr>
                <a:srgbClr val="E30613"/>
              </a:buClr>
              <a:buSzPct val="90000"/>
              <a:buFont typeface="Wingdings" charset="2"/>
              <a:buChar char="§"/>
              <a:defRPr sz="1600">
                <a:solidFill>
                  <a:schemeClr val="tx1"/>
                </a:solidFill>
              </a:defRPr>
            </a:lvl4pPr>
            <a:lvl5pPr marL="2057426" indent="-360005">
              <a:lnSpc>
                <a:spcPct val="120000"/>
              </a:lnSpc>
              <a:spcBef>
                <a:spcPts val="0"/>
              </a:spcBef>
              <a:buClr>
                <a:srgbClr val="E30613"/>
              </a:buClr>
              <a:buSzPct val="90000"/>
              <a:buFont typeface="Wingdings" charset="2"/>
              <a:buChar char="§"/>
              <a:defRPr sz="1600">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1"/>
          <p:cNvSpPr>
            <a:spLocks noGrp="1"/>
          </p:cNvSpPr>
          <p:nvPr>
            <p:ph type="title"/>
          </p:nvPr>
        </p:nvSpPr>
        <p:spPr>
          <a:xfrm>
            <a:off x="1197114" y="850404"/>
            <a:ext cx="7399312" cy="857250"/>
          </a:xfrm>
          <a:prstGeom prst="rect">
            <a:avLst/>
          </a:prstGeom>
        </p:spPr>
        <p:txBody>
          <a:bodyPr vert="horz" lIns="91440" tIns="45720" rIns="91440" bIns="45720" rtlCol="0" anchor="t" anchorCtr="0">
            <a:normAutofit/>
          </a:bodyPr>
          <a:lstStyle>
            <a:lvl1pPr>
              <a:defRPr sz="28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2580713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SMA Title and Two Column slide">
    <p:spTree>
      <p:nvGrpSpPr>
        <p:cNvPr id="1" name=""/>
        <p:cNvGrpSpPr/>
        <p:nvPr/>
      </p:nvGrpSpPr>
      <p:grpSpPr>
        <a:xfrm>
          <a:off x="0" y="0"/>
          <a:ext cx="0" cy="0"/>
          <a:chOff x="0" y="0"/>
          <a:chExt cx="0" cy="0"/>
        </a:xfrm>
      </p:grpSpPr>
      <p:sp>
        <p:nvSpPr>
          <p:cNvPr id="9" name="Text Placeholder 2"/>
          <p:cNvSpPr>
            <a:spLocks noGrp="1"/>
          </p:cNvSpPr>
          <p:nvPr>
            <p:ph type="body" idx="1"/>
          </p:nvPr>
        </p:nvSpPr>
        <p:spPr>
          <a:xfrm>
            <a:off x="414586" y="1563639"/>
            <a:ext cx="4040188" cy="355551"/>
          </a:xfrm>
          <a:prstGeom prst="rect">
            <a:avLst/>
          </a:prstGeom>
        </p:spPr>
        <p:txBody>
          <a:bodyPr anchor="b">
            <a:noAutofit/>
          </a:bodyPr>
          <a:lstStyle>
            <a:lvl1pPr marL="0" indent="0">
              <a:buNone/>
              <a:defRPr sz="1800" b="1">
                <a:solidFill>
                  <a:srgbClr val="575756"/>
                </a:solidFill>
              </a:defRPr>
            </a:lvl1pPr>
            <a:lvl2pPr marL="457206" indent="0">
              <a:buNone/>
              <a:defRPr sz="2000" b="1"/>
            </a:lvl2pPr>
            <a:lvl3pPr marL="914411" indent="0">
              <a:buNone/>
              <a:defRPr sz="1800"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dirty="0"/>
              <a:t>Click to edit Master text styles</a:t>
            </a:r>
          </a:p>
        </p:txBody>
      </p:sp>
      <p:sp>
        <p:nvSpPr>
          <p:cNvPr id="10" name="Content Placeholder 3"/>
          <p:cNvSpPr>
            <a:spLocks noGrp="1"/>
          </p:cNvSpPr>
          <p:nvPr>
            <p:ph sz="half" idx="2"/>
          </p:nvPr>
        </p:nvSpPr>
        <p:spPr>
          <a:xfrm>
            <a:off x="414586" y="1919190"/>
            <a:ext cx="4040188" cy="2668785"/>
          </a:xfrm>
          <a:prstGeom prst="rect">
            <a:avLst/>
          </a:prstGeom>
        </p:spPr>
        <p:txBody>
          <a:bodyPr/>
          <a:lstStyle>
            <a:lvl1pPr marL="0" indent="0">
              <a:buClr>
                <a:srgbClr val="E30613"/>
              </a:buClr>
              <a:buSzPct val="90000"/>
              <a:buFont typeface="Wingdings" charset="2"/>
              <a:buNone/>
              <a:defRPr sz="1800">
                <a:solidFill>
                  <a:schemeClr val="tx1"/>
                </a:solidFill>
              </a:defRPr>
            </a:lvl1pPr>
            <a:lvl2pPr marL="742960" indent="-285753">
              <a:buClr>
                <a:srgbClr val="E30613"/>
              </a:buClr>
              <a:buSzPct val="90000"/>
              <a:buFont typeface="Wingdings" charset="2"/>
              <a:buChar char="§"/>
              <a:defRPr sz="1400">
                <a:solidFill>
                  <a:schemeClr val="tx1"/>
                </a:solidFill>
              </a:defRPr>
            </a:lvl2pPr>
            <a:lvl3pPr marL="1143014" indent="-228603">
              <a:buClr>
                <a:srgbClr val="E30613"/>
              </a:buClr>
              <a:buSzPct val="90000"/>
              <a:buFont typeface="Wingdings" charset="2"/>
              <a:buChar char="§"/>
              <a:defRPr sz="1400">
                <a:solidFill>
                  <a:schemeClr val="tx1"/>
                </a:solidFill>
              </a:defRPr>
            </a:lvl3pPr>
            <a:lvl4pPr marL="1600220" indent="-228603">
              <a:buClr>
                <a:srgbClr val="E30613"/>
              </a:buClr>
              <a:buSzPct val="90000"/>
              <a:buFont typeface="Wingdings" charset="2"/>
              <a:buChar char="§"/>
              <a:defRPr sz="1200">
                <a:solidFill>
                  <a:schemeClr val="tx1"/>
                </a:solidFill>
              </a:defRPr>
            </a:lvl4pPr>
            <a:lvl5pPr marL="2057426" indent="-228603">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p:txBody>
      </p:sp>
      <p:sp>
        <p:nvSpPr>
          <p:cNvPr id="11" name="Text Placeholder 4"/>
          <p:cNvSpPr>
            <a:spLocks noGrp="1"/>
          </p:cNvSpPr>
          <p:nvPr>
            <p:ph type="body" sz="quarter" idx="3"/>
          </p:nvPr>
        </p:nvSpPr>
        <p:spPr>
          <a:xfrm>
            <a:off x="4645027" y="1563639"/>
            <a:ext cx="4041775" cy="355551"/>
          </a:xfrm>
          <a:prstGeom prst="rect">
            <a:avLst/>
          </a:prstGeom>
        </p:spPr>
        <p:txBody>
          <a:bodyPr anchor="b">
            <a:noAutofit/>
          </a:bodyPr>
          <a:lstStyle>
            <a:lvl1pPr marL="0" indent="0">
              <a:buNone/>
              <a:defRPr sz="1800" b="1">
                <a:solidFill>
                  <a:srgbClr val="575756"/>
                </a:solidFill>
              </a:defRPr>
            </a:lvl1pPr>
            <a:lvl2pPr marL="457206" indent="0">
              <a:buNone/>
              <a:defRPr sz="2000" b="1"/>
            </a:lvl2pPr>
            <a:lvl3pPr marL="914411" indent="0">
              <a:buNone/>
              <a:defRPr sz="1800"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dirty="0"/>
              <a:t>Click to edit Master text styles</a:t>
            </a:r>
          </a:p>
        </p:txBody>
      </p:sp>
      <p:sp>
        <p:nvSpPr>
          <p:cNvPr id="12" name="Content Placeholder 5"/>
          <p:cNvSpPr>
            <a:spLocks noGrp="1"/>
          </p:cNvSpPr>
          <p:nvPr>
            <p:ph sz="quarter" idx="4"/>
          </p:nvPr>
        </p:nvSpPr>
        <p:spPr>
          <a:xfrm>
            <a:off x="4645027" y="1919190"/>
            <a:ext cx="4041775" cy="2668785"/>
          </a:xfrm>
          <a:prstGeom prst="rect">
            <a:avLst/>
          </a:prstGeom>
        </p:spPr>
        <p:txBody>
          <a:bodyPr/>
          <a:lstStyle>
            <a:lvl1pPr marL="0" indent="0">
              <a:buClr>
                <a:srgbClr val="E30613"/>
              </a:buClr>
              <a:buSzPct val="90000"/>
              <a:buFont typeface="Wingdings" charset="2"/>
              <a:buNone/>
              <a:defRPr sz="1800">
                <a:solidFill>
                  <a:schemeClr val="tx1"/>
                </a:solidFill>
              </a:defRPr>
            </a:lvl1pPr>
            <a:lvl2pPr marL="742960" indent="-285753">
              <a:buClr>
                <a:srgbClr val="E30613"/>
              </a:buClr>
              <a:buSzPct val="90000"/>
              <a:buFont typeface="Wingdings" charset="2"/>
              <a:buChar char="§"/>
              <a:defRPr sz="1400">
                <a:solidFill>
                  <a:schemeClr val="tx1"/>
                </a:solidFill>
              </a:defRPr>
            </a:lvl2pPr>
            <a:lvl3pPr marL="1143014" indent="-228603">
              <a:buClr>
                <a:srgbClr val="E30613"/>
              </a:buClr>
              <a:buSzPct val="90000"/>
              <a:buFont typeface="Wingdings" charset="2"/>
              <a:buChar char="§"/>
              <a:defRPr sz="1400">
                <a:solidFill>
                  <a:schemeClr val="tx1"/>
                </a:solidFill>
              </a:defRPr>
            </a:lvl3pPr>
            <a:lvl4pPr marL="1600220" indent="-228603">
              <a:buClr>
                <a:srgbClr val="E30613"/>
              </a:buClr>
              <a:buSzPct val="90000"/>
              <a:buFont typeface="Wingdings" charset="2"/>
              <a:buChar char="§"/>
              <a:defRPr sz="1200">
                <a:solidFill>
                  <a:schemeClr val="tx1"/>
                </a:solidFill>
              </a:defRPr>
            </a:lvl4pPr>
            <a:lvl5pPr marL="2057426" indent="-228603">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a:t>Click to edit Master text styles</a:t>
            </a:r>
          </a:p>
        </p:txBody>
      </p:sp>
      <p:sp>
        <p:nvSpPr>
          <p:cNvPr id="14" name="Title Placeholder 1"/>
          <p:cNvSpPr>
            <a:spLocks noGrp="1"/>
          </p:cNvSpPr>
          <p:nvPr>
            <p:ph type="title"/>
          </p:nvPr>
        </p:nvSpPr>
        <p:spPr>
          <a:xfrm>
            <a:off x="1197114" y="850405"/>
            <a:ext cx="7399312" cy="641226"/>
          </a:xfrm>
          <a:prstGeom prst="rect">
            <a:avLst/>
          </a:prstGeom>
        </p:spPr>
        <p:txBody>
          <a:bodyPr vert="horz" lIns="91440" tIns="45720" rIns="91440" bIns="45720" rtlCol="0" anchor="t" anchorCtr="0">
            <a:normAutofit/>
          </a:bodyPr>
          <a:lstStyle>
            <a:lvl1pPr>
              <a:defRPr sz="28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34434093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GSMA Image and Content 02 slide">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1"/>
            <a:ext cx="3505200" cy="5143499"/>
          </a:xfrm>
          <a:prstGeom prst="rect">
            <a:avLst/>
          </a:prstGeom>
        </p:spPr>
        <p:txBody>
          <a:bodyPr>
            <a:normAutofit/>
          </a:bodyPr>
          <a:lstStyle>
            <a:lvl1pPr marL="0" indent="0">
              <a:buFontTx/>
              <a:buNone/>
              <a:tabLst>
                <a:tab pos="2959137" algn="l"/>
              </a:tabLst>
              <a:defRPr sz="1600">
                <a:solidFill>
                  <a:schemeClr val="bg1">
                    <a:lumMod val="65000"/>
                  </a:schemeClr>
                </a:solidFill>
              </a:defRPr>
            </a:lvl1pPr>
          </a:lstStyle>
          <a:p>
            <a:r>
              <a:rPr lang="en-US" dirty="0"/>
              <a:t>Click icon to add picture</a:t>
            </a:r>
            <a:endParaRPr lang="en-JM" dirty="0"/>
          </a:p>
        </p:txBody>
      </p:sp>
      <p:sp>
        <p:nvSpPr>
          <p:cNvPr id="4" name="Text Placeholder 5"/>
          <p:cNvSpPr>
            <a:spLocks noGrp="1"/>
          </p:cNvSpPr>
          <p:nvPr>
            <p:ph type="body" sz="quarter" idx="13"/>
          </p:nvPr>
        </p:nvSpPr>
        <p:spPr>
          <a:xfrm>
            <a:off x="4067944" y="339502"/>
            <a:ext cx="4618855" cy="4176464"/>
          </a:xfrm>
          <a:prstGeom prst="rect">
            <a:avLst/>
          </a:prstGeom>
        </p:spPr>
        <p:txBody>
          <a:bodyPr>
            <a:normAutofit/>
          </a:bodyPr>
          <a:lstStyle>
            <a:lvl1pPr marL="342905" indent="-360005">
              <a:lnSpc>
                <a:spcPct val="120000"/>
              </a:lnSpc>
              <a:spcBef>
                <a:spcPts val="0"/>
              </a:spcBef>
              <a:buClr>
                <a:srgbClr val="E30613"/>
              </a:buClr>
              <a:buSzPct val="90000"/>
              <a:buFont typeface="Wingdings" charset="2"/>
              <a:buChar char="§"/>
              <a:defRPr sz="2400" b="0" i="0">
                <a:solidFill>
                  <a:schemeClr val="tx1"/>
                </a:solidFill>
                <a:latin typeface="Arial" panose="020B0604020202020204" pitchFamily="34" charset="0"/>
                <a:cs typeface="Arial" panose="020B0604020202020204" pitchFamily="34" charset="0"/>
              </a:defRPr>
            </a:lvl1pPr>
            <a:lvl2pPr marL="742960" indent="-360005">
              <a:lnSpc>
                <a:spcPct val="120000"/>
              </a:lnSpc>
              <a:spcBef>
                <a:spcPts val="0"/>
              </a:spcBef>
              <a:buClr>
                <a:srgbClr val="FF0000"/>
              </a:buClr>
              <a:buSzPct val="90000"/>
              <a:buFont typeface="Wingdings" charset="2"/>
              <a:buChar char="§"/>
              <a:defRPr sz="2000" b="0" i="0">
                <a:solidFill>
                  <a:schemeClr val="tx1"/>
                </a:solidFill>
                <a:latin typeface="Arial" charset="0"/>
                <a:ea typeface="Arial" charset="0"/>
                <a:cs typeface="Arial" charset="0"/>
              </a:defRPr>
            </a:lvl2pPr>
            <a:lvl3pPr marL="1143014" indent="-228603">
              <a:buFont typeface="Sketch Rockwell" pitchFamily="2" charset="0"/>
              <a:buChar char="o"/>
              <a:defRPr>
                <a:solidFill>
                  <a:schemeClr val="tx1">
                    <a:lumMod val="65000"/>
                    <a:lumOff val="35000"/>
                  </a:schemeClr>
                </a:solidFill>
                <a:latin typeface="Futura LT Book" pitchFamily="2" charset="0"/>
              </a:defRPr>
            </a:lvl3pPr>
            <a:lvl4pPr marL="1600220" indent="-228603">
              <a:buFont typeface="Sketch Rockwell" pitchFamily="2" charset="0"/>
              <a:buChar char="o"/>
              <a:defRPr>
                <a:solidFill>
                  <a:schemeClr val="tx1">
                    <a:lumMod val="65000"/>
                    <a:lumOff val="35000"/>
                  </a:schemeClr>
                </a:solidFill>
                <a:latin typeface="Futura LT Book" pitchFamily="2" charset="0"/>
              </a:defRPr>
            </a:lvl4pPr>
            <a:lvl5pPr marL="2057426" indent="-228603">
              <a:buFont typeface="Sketch Rockwell" pitchFamily="2" charset="0"/>
              <a:buChar char="o"/>
              <a:defRPr>
                <a:solidFill>
                  <a:schemeClr val="tx1">
                    <a:lumMod val="65000"/>
                    <a:lumOff val="35000"/>
                  </a:schemeClr>
                </a:solidFill>
                <a:latin typeface="Futura LT Book" pitchFamily="2" charset="0"/>
              </a:defRPr>
            </a:lvl5pPr>
          </a:lstStyle>
          <a:p>
            <a:pPr lvl="0"/>
            <a:r>
              <a:rPr lang="en-US" dirty="0"/>
              <a:t>Click to edit Master text styles</a:t>
            </a:r>
          </a:p>
          <a:p>
            <a:pPr lvl="1"/>
            <a:r>
              <a:rPr lang="en-US" dirty="0"/>
              <a:t>Click to edit </a:t>
            </a:r>
          </a:p>
        </p:txBody>
      </p:sp>
      <p:sp>
        <p:nvSpPr>
          <p:cNvPr id="2" name="Rectangle 1"/>
          <p:cNvSpPr/>
          <p:nvPr userDrawn="1"/>
        </p:nvSpPr>
        <p:spPr>
          <a:xfrm>
            <a:off x="411882" y="4515966"/>
            <a:ext cx="8352928"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914411" hangingPunct="1"/>
            <a:endParaRPr lang="en-ZA" sz="1800" kern="1200" dirty="0">
              <a:solidFill>
                <a:srgbClr val="FFFFFF"/>
              </a:solidFill>
            </a:endParaRPr>
          </a:p>
        </p:txBody>
      </p:sp>
      <p:sp>
        <p:nvSpPr>
          <p:cNvPr id="5" name="Rectangle 4"/>
          <p:cNvSpPr/>
          <p:nvPr userDrawn="1"/>
        </p:nvSpPr>
        <p:spPr>
          <a:xfrm>
            <a:off x="4067175" y="4587974"/>
            <a:ext cx="1512887"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914411" hangingPunct="1"/>
            <a:endParaRPr lang="en-ZA" sz="1800" kern="1200" dirty="0">
              <a:solidFill>
                <a:srgbClr val="FFFFFF"/>
              </a:solidFill>
            </a:endParaRPr>
          </a:p>
        </p:txBody>
      </p:sp>
      <p:sp>
        <p:nvSpPr>
          <p:cNvPr id="6" name="Rectangle 5"/>
          <p:cNvSpPr/>
          <p:nvPr userDrawn="1"/>
        </p:nvSpPr>
        <p:spPr>
          <a:xfrm>
            <a:off x="5580062" y="4587974"/>
            <a:ext cx="1595437"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914411" hangingPunct="1"/>
            <a:endParaRPr lang="en-ZA" sz="1800" kern="1200" dirty="0">
              <a:solidFill>
                <a:srgbClr val="FFFFFF"/>
              </a:solidFill>
            </a:endParaRPr>
          </a:p>
        </p:txBody>
      </p:sp>
      <p:sp>
        <p:nvSpPr>
          <p:cNvPr id="7" name="Rectangle 6"/>
          <p:cNvSpPr/>
          <p:nvPr userDrawn="1"/>
        </p:nvSpPr>
        <p:spPr>
          <a:xfrm>
            <a:off x="7164387" y="4587974"/>
            <a:ext cx="1600423"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914411" hangingPunct="1"/>
            <a:endParaRPr lang="en-ZA" sz="1800" kern="1200" dirty="0">
              <a:solidFill>
                <a:srgbClr val="FFFFFF"/>
              </a:solidFill>
            </a:endParaRPr>
          </a:p>
        </p:txBody>
      </p:sp>
    </p:spTree>
    <p:extLst>
      <p:ext uri="{BB962C8B-B14F-4D97-AF65-F5344CB8AC3E}">
        <p14:creationId xmlns:p14="http://schemas.microsoft.com/office/powerpoint/2010/main" val="24788226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SMA Image 01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98555" y="126504"/>
            <a:ext cx="4590999" cy="1653158"/>
          </a:xfrm>
          <a:prstGeom prst="rect">
            <a:avLst/>
          </a:prstGeom>
        </p:spPr>
      </p:pic>
      <p:sp>
        <p:nvSpPr>
          <p:cNvPr id="6" name="Picture Placeholder 16"/>
          <p:cNvSpPr>
            <a:spLocks noGrp="1"/>
          </p:cNvSpPr>
          <p:nvPr>
            <p:ph type="pic" sz="quarter" idx="59"/>
          </p:nvPr>
        </p:nvSpPr>
        <p:spPr>
          <a:xfrm>
            <a:off x="0" y="1707655"/>
            <a:ext cx="9144000" cy="3435845"/>
          </a:xfrm>
          <a:prstGeom prst="rect">
            <a:avLst/>
          </a:prstGeom>
        </p:spPr>
        <p:txBody>
          <a:bodyPr/>
          <a:lstStyle/>
          <a:p>
            <a:r>
              <a:rPr lang="en-US" dirty="0"/>
              <a:t>Click icon to add picture</a:t>
            </a:r>
            <a:endParaRPr lang="en-JM" dirty="0"/>
          </a:p>
        </p:txBody>
      </p:sp>
      <p:sp>
        <p:nvSpPr>
          <p:cNvPr id="8" name="Title Placeholder 1"/>
          <p:cNvSpPr>
            <a:spLocks noGrp="1"/>
          </p:cNvSpPr>
          <p:nvPr>
            <p:ph type="title"/>
          </p:nvPr>
        </p:nvSpPr>
        <p:spPr>
          <a:xfrm>
            <a:off x="1197114" y="850404"/>
            <a:ext cx="7399312" cy="857250"/>
          </a:xfrm>
          <a:prstGeom prst="rect">
            <a:avLst/>
          </a:prstGeom>
        </p:spPr>
        <p:txBody>
          <a:bodyPr vert="horz" lIns="91440" tIns="45720" rIns="91440" bIns="45720" rtlCol="0" anchor="t" anchorCtr="0">
            <a:normAutofit/>
          </a:bodyPr>
          <a:lstStyle>
            <a:lvl1pPr>
              <a:defRPr sz="28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7304965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SMA Image 02 slide">
    <p:spTree>
      <p:nvGrpSpPr>
        <p:cNvPr id="1" name=""/>
        <p:cNvGrpSpPr/>
        <p:nvPr/>
      </p:nvGrpSpPr>
      <p:grpSpPr>
        <a:xfrm>
          <a:off x="0" y="0"/>
          <a:ext cx="0" cy="0"/>
          <a:chOff x="0" y="0"/>
          <a:chExt cx="0" cy="0"/>
        </a:xfrm>
      </p:grpSpPr>
      <p:sp>
        <p:nvSpPr>
          <p:cNvPr id="9" name="Picture Placeholder 16"/>
          <p:cNvSpPr>
            <a:spLocks noGrp="1"/>
          </p:cNvSpPr>
          <p:nvPr>
            <p:ph type="pic" sz="quarter" idx="59"/>
          </p:nvPr>
        </p:nvSpPr>
        <p:spPr>
          <a:xfrm>
            <a:off x="0" y="1707654"/>
            <a:ext cx="4572000" cy="3435846"/>
          </a:xfrm>
          <a:prstGeom prst="rect">
            <a:avLst/>
          </a:prstGeom>
        </p:spPr>
        <p:txBody>
          <a:bodyPr/>
          <a:lstStyle/>
          <a:p>
            <a:r>
              <a:rPr lang="en-US" dirty="0"/>
              <a:t>Click icon to add picture</a:t>
            </a:r>
            <a:endParaRPr lang="en-JM" dirty="0"/>
          </a:p>
        </p:txBody>
      </p:sp>
      <p:sp>
        <p:nvSpPr>
          <p:cNvPr id="10" name="Picture Placeholder 16"/>
          <p:cNvSpPr>
            <a:spLocks noGrp="1"/>
          </p:cNvSpPr>
          <p:nvPr>
            <p:ph type="pic" sz="quarter" idx="60"/>
          </p:nvPr>
        </p:nvSpPr>
        <p:spPr>
          <a:xfrm>
            <a:off x="4572000" y="1707654"/>
            <a:ext cx="4572000" cy="3435846"/>
          </a:xfrm>
          <a:prstGeom prst="rect">
            <a:avLst/>
          </a:prstGeom>
        </p:spPr>
        <p:txBody>
          <a:bodyPr/>
          <a:lstStyle/>
          <a:p>
            <a:r>
              <a:rPr lang="en-US" dirty="0"/>
              <a:t>Click icon to add picture</a:t>
            </a:r>
            <a:endParaRPr lang="en-JM" dirty="0"/>
          </a:p>
        </p:txBody>
      </p:sp>
      <p:sp>
        <p:nvSpPr>
          <p:cNvPr id="8" name="Title Placeholder 1"/>
          <p:cNvSpPr>
            <a:spLocks noGrp="1"/>
          </p:cNvSpPr>
          <p:nvPr>
            <p:ph type="title"/>
          </p:nvPr>
        </p:nvSpPr>
        <p:spPr>
          <a:xfrm>
            <a:off x="1197114" y="850404"/>
            <a:ext cx="7399312" cy="857250"/>
          </a:xfrm>
          <a:prstGeom prst="rect">
            <a:avLst/>
          </a:prstGeom>
        </p:spPr>
        <p:txBody>
          <a:bodyPr vert="horz" lIns="91440" tIns="45720" rIns="91440" bIns="45720" rtlCol="0" anchor="t" anchorCtr="0">
            <a:normAutofit/>
          </a:bodyPr>
          <a:lstStyle>
            <a:lvl1pPr>
              <a:defRPr sz="28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31533447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a:xfrm>
            <a:off x="4735102" y="-618"/>
            <a:ext cx="4408897" cy="4905993"/>
          </a:xfrm>
          <a:custGeom>
            <a:avLst/>
            <a:gdLst>
              <a:gd name="connsiteX0" fmla="*/ 0 w 4391025"/>
              <a:gd name="connsiteY0" fmla="*/ 0 h 4905375"/>
              <a:gd name="connsiteX1" fmla="*/ 4391025 w 4391025"/>
              <a:gd name="connsiteY1" fmla="*/ 0 h 4905375"/>
              <a:gd name="connsiteX2" fmla="*/ 4391025 w 4391025"/>
              <a:gd name="connsiteY2" fmla="*/ 4905375 h 4905375"/>
              <a:gd name="connsiteX3" fmla="*/ 0 w 4391025"/>
              <a:gd name="connsiteY3" fmla="*/ 4905375 h 4905375"/>
              <a:gd name="connsiteX4" fmla="*/ 0 w 4391025"/>
              <a:gd name="connsiteY4" fmla="*/ 0 h 4905375"/>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906162 w 4391025"/>
              <a:gd name="connsiteY4"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809625 w 4391025"/>
              <a:gd name="connsiteY4" fmla="*/ 54163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687705 w 4391025"/>
              <a:gd name="connsiteY4" fmla="*/ 32827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432435 w 4391025"/>
              <a:gd name="connsiteY4" fmla="*/ 19970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32385 w 4391025"/>
              <a:gd name="connsiteY4" fmla="*/ 25685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7145 w 4391025"/>
              <a:gd name="connsiteY4" fmla="*/ 3475338 h 4913613"/>
              <a:gd name="connsiteX5" fmla="*/ 32385 w 4391025"/>
              <a:gd name="connsiteY5" fmla="*/ 2568558 h 4913613"/>
              <a:gd name="connsiteX6" fmla="*/ 687705 w 4391025"/>
              <a:gd name="connsiteY6" fmla="*/ 328278 h 4913613"/>
              <a:gd name="connsiteX7" fmla="*/ 906162 w 4391025"/>
              <a:gd name="connsiteY7"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27635 w 4391025"/>
              <a:gd name="connsiteY4" fmla="*/ 3220068 h 4913613"/>
              <a:gd name="connsiteX5" fmla="*/ 32385 w 4391025"/>
              <a:gd name="connsiteY5" fmla="*/ 2568558 h 4913613"/>
              <a:gd name="connsiteX6" fmla="*/ 687705 w 4391025"/>
              <a:gd name="connsiteY6" fmla="*/ 328278 h 4913613"/>
              <a:gd name="connsiteX7" fmla="*/ 906162 w 4391025"/>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5250 w 4358640"/>
              <a:gd name="connsiteY4" fmla="*/ 3220068 h 4913613"/>
              <a:gd name="connsiteX5" fmla="*/ 0 w 4358640"/>
              <a:gd name="connsiteY5" fmla="*/ 2568558 h 4913613"/>
              <a:gd name="connsiteX6" fmla="*/ 655320 w 4358640"/>
              <a:gd name="connsiteY6" fmla="*/ 328278 h 4913613"/>
              <a:gd name="connsiteX7" fmla="*/ 873777 w 4358640"/>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1440 w 4358640"/>
              <a:gd name="connsiteY4" fmla="*/ 3204828 h 4913613"/>
              <a:gd name="connsiteX5" fmla="*/ 0 w 4358640"/>
              <a:gd name="connsiteY5" fmla="*/ 2568558 h 4913613"/>
              <a:gd name="connsiteX6" fmla="*/ 655320 w 4358640"/>
              <a:gd name="connsiteY6" fmla="*/ 328278 h 4913613"/>
              <a:gd name="connsiteX7" fmla="*/ 873777 w 4358640"/>
              <a:gd name="connsiteY7" fmla="*/ 0 h 4913613"/>
              <a:gd name="connsiteX0" fmla="*/ 881147 w 4366010"/>
              <a:gd name="connsiteY0" fmla="*/ 0 h 4913613"/>
              <a:gd name="connsiteX1" fmla="*/ 4366010 w 4366010"/>
              <a:gd name="connsiteY1" fmla="*/ 8238 h 4913613"/>
              <a:gd name="connsiteX2" fmla="*/ 4366010 w 4366010"/>
              <a:gd name="connsiteY2" fmla="*/ 4913613 h 4913613"/>
              <a:gd name="connsiteX3" fmla="*/ 1617095 w 4366010"/>
              <a:gd name="connsiteY3" fmla="*/ 4780263 h 4913613"/>
              <a:gd name="connsiteX4" fmla="*/ 98810 w 4366010"/>
              <a:gd name="connsiteY4" fmla="*/ 3204828 h 4913613"/>
              <a:gd name="connsiteX5" fmla="*/ 7370 w 4366010"/>
              <a:gd name="connsiteY5" fmla="*/ 2568558 h 4913613"/>
              <a:gd name="connsiteX6" fmla="*/ 662690 w 4366010"/>
              <a:gd name="connsiteY6" fmla="*/ 328278 h 4913613"/>
              <a:gd name="connsiteX7" fmla="*/ 881147 w 4366010"/>
              <a:gd name="connsiteY7" fmla="*/ 0 h 4913613"/>
              <a:gd name="connsiteX0" fmla="*/ 915784 w 4400647"/>
              <a:gd name="connsiteY0" fmla="*/ 0 h 4913613"/>
              <a:gd name="connsiteX1" fmla="*/ 4400647 w 4400647"/>
              <a:gd name="connsiteY1" fmla="*/ 8238 h 4913613"/>
              <a:gd name="connsiteX2" fmla="*/ 4400647 w 4400647"/>
              <a:gd name="connsiteY2" fmla="*/ 4913613 h 4913613"/>
              <a:gd name="connsiteX3" fmla="*/ 1651732 w 4400647"/>
              <a:gd name="connsiteY3" fmla="*/ 4780263 h 4913613"/>
              <a:gd name="connsiteX4" fmla="*/ 133447 w 4400647"/>
              <a:gd name="connsiteY4" fmla="*/ 3204828 h 4913613"/>
              <a:gd name="connsiteX5" fmla="*/ 42007 w 4400647"/>
              <a:gd name="connsiteY5" fmla="*/ 2568558 h 4913613"/>
              <a:gd name="connsiteX6" fmla="*/ 697327 w 4400647"/>
              <a:gd name="connsiteY6" fmla="*/ 328278 h 4913613"/>
              <a:gd name="connsiteX7" fmla="*/ 915784 w 4400647"/>
              <a:gd name="connsiteY7" fmla="*/ 0 h 491361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28216 w 4397839"/>
              <a:gd name="connsiteY0" fmla="*/ 0 h 4905993"/>
              <a:gd name="connsiteX1" fmla="*/ 4397839 w 4397839"/>
              <a:gd name="connsiteY1" fmla="*/ 618 h 4905993"/>
              <a:gd name="connsiteX2" fmla="*/ 4397839 w 4397839"/>
              <a:gd name="connsiteY2" fmla="*/ 4905993 h 4905993"/>
              <a:gd name="connsiteX3" fmla="*/ 1648924 w 4397839"/>
              <a:gd name="connsiteY3" fmla="*/ 4772643 h 4905993"/>
              <a:gd name="connsiteX4" fmla="*/ 138259 w 4397839"/>
              <a:gd name="connsiteY4" fmla="*/ 3208638 h 4905993"/>
              <a:gd name="connsiteX5" fmla="*/ 39199 w 4397839"/>
              <a:gd name="connsiteY5" fmla="*/ 2560938 h 4905993"/>
              <a:gd name="connsiteX6" fmla="*/ 694519 w 4397839"/>
              <a:gd name="connsiteY6" fmla="*/ 320658 h 4905993"/>
              <a:gd name="connsiteX7" fmla="*/ 928216 w 4397839"/>
              <a:gd name="connsiteY7" fmla="*/ 0 h 4905993"/>
              <a:gd name="connsiteX0" fmla="*/ 931629 w 4401252"/>
              <a:gd name="connsiteY0" fmla="*/ 0 h 4905993"/>
              <a:gd name="connsiteX1" fmla="*/ 4401252 w 4401252"/>
              <a:gd name="connsiteY1" fmla="*/ 618 h 4905993"/>
              <a:gd name="connsiteX2" fmla="*/ 4401252 w 4401252"/>
              <a:gd name="connsiteY2" fmla="*/ 4905993 h 4905993"/>
              <a:gd name="connsiteX3" fmla="*/ 1652337 w 4401252"/>
              <a:gd name="connsiteY3" fmla="*/ 4772643 h 4905993"/>
              <a:gd name="connsiteX4" fmla="*/ 141672 w 4401252"/>
              <a:gd name="connsiteY4" fmla="*/ 3208638 h 4905993"/>
              <a:gd name="connsiteX5" fmla="*/ 42612 w 4401252"/>
              <a:gd name="connsiteY5" fmla="*/ 2560938 h 4905993"/>
              <a:gd name="connsiteX6" fmla="*/ 697932 w 4401252"/>
              <a:gd name="connsiteY6" fmla="*/ 320658 h 4905993"/>
              <a:gd name="connsiteX7" fmla="*/ 931629 w 4401252"/>
              <a:gd name="connsiteY7" fmla="*/ 0 h 4905993"/>
              <a:gd name="connsiteX0" fmla="*/ 937706 w 4407329"/>
              <a:gd name="connsiteY0" fmla="*/ 0 h 4905993"/>
              <a:gd name="connsiteX1" fmla="*/ 4407329 w 4407329"/>
              <a:gd name="connsiteY1" fmla="*/ 618 h 4905993"/>
              <a:gd name="connsiteX2" fmla="*/ 4407329 w 4407329"/>
              <a:gd name="connsiteY2" fmla="*/ 4905993 h 4905993"/>
              <a:gd name="connsiteX3" fmla="*/ 1658414 w 4407329"/>
              <a:gd name="connsiteY3" fmla="*/ 4772643 h 4905993"/>
              <a:gd name="connsiteX4" fmla="*/ 147749 w 4407329"/>
              <a:gd name="connsiteY4" fmla="*/ 3208638 h 4905993"/>
              <a:gd name="connsiteX5" fmla="*/ 48689 w 4407329"/>
              <a:gd name="connsiteY5" fmla="*/ 2560938 h 4905993"/>
              <a:gd name="connsiteX6" fmla="*/ 704009 w 4407329"/>
              <a:gd name="connsiteY6" fmla="*/ 320658 h 4905993"/>
              <a:gd name="connsiteX7" fmla="*/ 937706 w 4407329"/>
              <a:gd name="connsiteY7" fmla="*/ 0 h 4905993"/>
              <a:gd name="connsiteX0" fmla="*/ 939274 w 4408897"/>
              <a:gd name="connsiteY0" fmla="*/ 0 h 4905993"/>
              <a:gd name="connsiteX1" fmla="*/ 4408897 w 4408897"/>
              <a:gd name="connsiteY1" fmla="*/ 618 h 4905993"/>
              <a:gd name="connsiteX2" fmla="*/ 4408897 w 4408897"/>
              <a:gd name="connsiteY2" fmla="*/ 4905993 h 4905993"/>
              <a:gd name="connsiteX3" fmla="*/ 1659982 w 4408897"/>
              <a:gd name="connsiteY3" fmla="*/ 4772643 h 4905993"/>
              <a:gd name="connsiteX4" fmla="*/ 149317 w 4408897"/>
              <a:gd name="connsiteY4" fmla="*/ 3208638 h 4905993"/>
              <a:gd name="connsiteX5" fmla="*/ 50257 w 4408897"/>
              <a:gd name="connsiteY5" fmla="*/ 2560938 h 4905993"/>
              <a:gd name="connsiteX6" fmla="*/ 705577 w 4408897"/>
              <a:gd name="connsiteY6" fmla="*/ 320658 h 4905993"/>
              <a:gd name="connsiteX7" fmla="*/ 939274 w 4408897"/>
              <a:gd name="connsiteY7" fmla="*/ 0 h 490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8897" h="4905993">
                <a:moveTo>
                  <a:pt x="939274" y="0"/>
                </a:moveTo>
                <a:lnTo>
                  <a:pt x="4408897" y="618"/>
                </a:lnTo>
                <a:lnTo>
                  <a:pt x="4408897" y="4905993"/>
                </a:lnTo>
                <a:lnTo>
                  <a:pt x="1659982" y="4772643"/>
                </a:lnTo>
                <a:lnTo>
                  <a:pt x="149317" y="3208638"/>
                </a:lnTo>
                <a:cubicBezTo>
                  <a:pt x="-52613" y="2977498"/>
                  <a:pt x="-10703" y="2757788"/>
                  <a:pt x="50257" y="2560938"/>
                </a:cubicBezTo>
                <a:lnTo>
                  <a:pt x="705577" y="320658"/>
                </a:lnTo>
                <a:cubicBezTo>
                  <a:pt x="752996" y="183292"/>
                  <a:pt x="823275" y="91646"/>
                  <a:pt x="939274" y="0"/>
                </a:cubicBezTo>
                <a:close/>
              </a:path>
            </a:pathLst>
          </a:custGeom>
        </p:spPr>
        <p:txBody>
          <a:bodyPr anchor="ctr"/>
          <a:lstStyle>
            <a:lvl1pPr algn="ctr">
              <a:defRPr/>
            </a:lvl1pPr>
          </a:lstStyle>
          <a:p>
            <a:endParaRPr lang="en-US" dirty="0"/>
          </a:p>
        </p:txBody>
      </p:sp>
      <p:sp>
        <p:nvSpPr>
          <p:cNvPr id="3" name="Content Placeholder 2"/>
          <p:cNvSpPr>
            <a:spLocks noGrp="1"/>
          </p:cNvSpPr>
          <p:nvPr>
            <p:ph sz="half" idx="1"/>
          </p:nvPr>
        </p:nvSpPr>
        <p:spPr>
          <a:xfrm>
            <a:off x="457200" y="931641"/>
            <a:ext cx="4038600" cy="3276217"/>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4038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pic>
        <p:nvPicPr>
          <p:cNvPr id="16" name="Picture 15"/>
          <p:cNvPicPr>
            <a:picLocks noChangeAspect="1"/>
          </p:cNvPicPr>
          <p:nvPr userDrawn="1"/>
        </p:nvPicPr>
        <p:blipFill>
          <a:blip r:embed="rId2"/>
          <a:stretch>
            <a:fillRect/>
          </a:stretch>
        </p:blipFill>
        <p:spPr>
          <a:xfrm>
            <a:off x="5874818" y="4276166"/>
            <a:ext cx="3269181" cy="867334"/>
          </a:xfrm>
          <a:prstGeom prst="rect">
            <a:avLst/>
          </a:prstGeom>
        </p:spPr>
      </p:pic>
      <p:sp>
        <p:nvSpPr>
          <p:cNvPr id="17"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spTree>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GSMA Image 03 slide">
    <p:spTree>
      <p:nvGrpSpPr>
        <p:cNvPr id="1" name=""/>
        <p:cNvGrpSpPr/>
        <p:nvPr/>
      </p:nvGrpSpPr>
      <p:grpSpPr>
        <a:xfrm>
          <a:off x="0" y="0"/>
          <a:ext cx="0" cy="0"/>
          <a:chOff x="0" y="0"/>
          <a:chExt cx="0" cy="0"/>
        </a:xfrm>
      </p:grpSpPr>
      <p:sp>
        <p:nvSpPr>
          <p:cNvPr id="3" name="Picture Placeholder 16"/>
          <p:cNvSpPr>
            <a:spLocks noGrp="1"/>
          </p:cNvSpPr>
          <p:nvPr>
            <p:ph type="pic" sz="quarter" idx="59"/>
          </p:nvPr>
        </p:nvSpPr>
        <p:spPr>
          <a:xfrm>
            <a:off x="155631" y="123478"/>
            <a:ext cx="3330575" cy="2088232"/>
          </a:xfrm>
          <a:prstGeom prst="rect">
            <a:avLst/>
          </a:prstGeom>
        </p:spPr>
        <p:txBody>
          <a:bodyPr/>
          <a:lstStyle/>
          <a:p>
            <a:r>
              <a:rPr lang="en-US" dirty="0"/>
              <a:t>Click icon to add picture</a:t>
            </a:r>
            <a:endParaRPr lang="en-JM" dirty="0"/>
          </a:p>
        </p:txBody>
      </p:sp>
      <p:sp>
        <p:nvSpPr>
          <p:cNvPr id="4" name="Picture Placeholder 16"/>
          <p:cNvSpPr>
            <a:spLocks noGrp="1"/>
          </p:cNvSpPr>
          <p:nvPr>
            <p:ph type="pic" sz="quarter" idx="60"/>
          </p:nvPr>
        </p:nvSpPr>
        <p:spPr>
          <a:xfrm>
            <a:off x="155631" y="2355726"/>
            <a:ext cx="3330575" cy="2232248"/>
          </a:xfrm>
          <a:prstGeom prst="rect">
            <a:avLst/>
          </a:prstGeom>
        </p:spPr>
        <p:txBody>
          <a:bodyPr/>
          <a:lstStyle/>
          <a:p>
            <a:r>
              <a:rPr lang="en-US" dirty="0"/>
              <a:t>Click icon to add picture</a:t>
            </a:r>
            <a:endParaRPr lang="en-JM" dirty="0"/>
          </a:p>
        </p:txBody>
      </p:sp>
      <p:sp>
        <p:nvSpPr>
          <p:cNvPr id="5" name="Picture Placeholder 16"/>
          <p:cNvSpPr>
            <a:spLocks noGrp="1"/>
          </p:cNvSpPr>
          <p:nvPr>
            <p:ph type="pic" sz="quarter" idx="61"/>
          </p:nvPr>
        </p:nvSpPr>
        <p:spPr>
          <a:xfrm>
            <a:off x="3633538" y="123478"/>
            <a:ext cx="2714782" cy="4464496"/>
          </a:xfrm>
          <a:prstGeom prst="rect">
            <a:avLst/>
          </a:prstGeom>
        </p:spPr>
        <p:txBody>
          <a:bodyPr/>
          <a:lstStyle/>
          <a:p>
            <a:r>
              <a:rPr lang="en-US" dirty="0"/>
              <a:t>Click icon to add picture</a:t>
            </a:r>
            <a:endParaRPr lang="en-JM" dirty="0"/>
          </a:p>
        </p:txBody>
      </p:sp>
      <p:sp>
        <p:nvSpPr>
          <p:cNvPr id="6" name="Picture Placeholder 16"/>
          <p:cNvSpPr>
            <a:spLocks noGrp="1"/>
          </p:cNvSpPr>
          <p:nvPr>
            <p:ph type="pic" sz="quarter" idx="62"/>
          </p:nvPr>
        </p:nvSpPr>
        <p:spPr>
          <a:xfrm>
            <a:off x="6492336" y="123478"/>
            <a:ext cx="2538487" cy="1368152"/>
          </a:xfrm>
          <a:prstGeom prst="rect">
            <a:avLst/>
          </a:prstGeom>
        </p:spPr>
        <p:txBody>
          <a:bodyPr/>
          <a:lstStyle/>
          <a:p>
            <a:r>
              <a:rPr lang="en-US" dirty="0"/>
              <a:t>Click icon to add picture</a:t>
            </a:r>
            <a:endParaRPr lang="en-JM" dirty="0"/>
          </a:p>
        </p:txBody>
      </p:sp>
      <p:sp>
        <p:nvSpPr>
          <p:cNvPr id="7" name="Picture Placeholder 16"/>
          <p:cNvSpPr>
            <a:spLocks noGrp="1"/>
          </p:cNvSpPr>
          <p:nvPr>
            <p:ph type="pic" sz="quarter" idx="63"/>
          </p:nvPr>
        </p:nvSpPr>
        <p:spPr>
          <a:xfrm>
            <a:off x="6492336" y="1635646"/>
            <a:ext cx="2538487" cy="1440160"/>
          </a:xfrm>
          <a:prstGeom prst="rect">
            <a:avLst/>
          </a:prstGeom>
        </p:spPr>
        <p:txBody>
          <a:bodyPr/>
          <a:lstStyle/>
          <a:p>
            <a:r>
              <a:rPr lang="en-US" dirty="0"/>
              <a:t>Click icon to add picture</a:t>
            </a:r>
            <a:endParaRPr lang="en-JM" dirty="0"/>
          </a:p>
        </p:txBody>
      </p:sp>
      <p:sp>
        <p:nvSpPr>
          <p:cNvPr id="8" name="Picture Placeholder 16"/>
          <p:cNvSpPr>
            <a:spLocks noGrp="1"/>
          </p:cNvSpPr>
          <p:nvPr>
            <p:ph type="pic" sz="quarter" idx="64"/>
          </p:nvPr>
        </p:nvSpPr>
        <p:spPr>
          <a:xfrm>
            <a:off x="6492336" y="3219822"/>
            <a:ext cx="2538487" cy="1368152"/>
          </a:xfrm>
          <a:prstGeom prst="rect">
            <a:avLst/>
          </a:prstGeom>
        </p:spPr>
        <p:txBody>
          <a:bodyPr/>
          <a:lstStyle/>
          <a:p>
            <a:r>
              <a:rPr lang="en-US" dirty="0"/>
              <a:t>Click icon to add picture</a:t>
            </a:r>
            <a:endParaRPr lang="en-JM" dirty="0"/>
          </a:p>
        </p:txBody>
      </p:sp>
    </p:spTree>
    <p:extLst>
      <p:ext uri="{BB962C8B-B14F-4D97-AF65-F5344CB8AC3E}">
        <p14:creationId xmlns:p14="http://schemas.microsoft.com/office/powerpoint/2010/main" val="5124642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Full Page RED 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9144000" cy="5143500"/>
          </a:xfrm>
          <a:prstGeom prst="rect">
            <a:avLst/>
          </a:prstGeom>
        </p:spPr>
        <p:txBody>
          <a:bodyPr vert="horz"/>
          <a:lstStyle/>
          <a:p>
            <a:endParaRPr lang="en-US" dirty="0"/>
          </a:p>
        </p:txBody>
      </p:sp>
      <p:sp>
        <p:nvSpPr>
          <p:cNvPr id="8" name="Title 1"/>
          <p:cNvSpPr>
            <a:spLocks noGrp="1"/>
          </p:cNvSpPr>
          <p:nvPr>
            <p:ph type="ctrTitle"/>
          </p:nvPr>
        </p:nvSpPr>
        <p:spPr>
          <a:xfrm>
            <a:off x="2392680" y="2283718"/>
            <a:ext cx="6243320" cy="636587"/>
          </a:xfrm>
          <a:prstGeom prst="rect">
            <a:avLst/>
          </a:prstGeom>
        </p:spPr>
        <p:txBody>
          <a:bodyPr/>
          <a:lstStyle>
            <a:lvl1pPr algn="l">
              <a:defRPr sz="3600">
                <a:solidFill>
                  <a:schemeClr val="bg1"/>
                </a:solidFill>
              </a:defRPr>
            </a:lvl1pPr>
          </a:lstStyle>
          <a:p>
            <a:r>
              <a:rPr lang="en-GB" dirty="0"/>
              <a:t>Click to edit Master title style</a:t>
            </a:r>
            <a:endParaRPr lang="en-US" dirty="0"/>
          </a:p>
        </p:txBody>
      </p:sp>
      <p:sp>
        <p:nvSpPr>
          <p:cNvPr id="9" name="Subtitle 2"/>
          <p:cNvSpPr>
            <a:spLocks noGrp="1"/>
          </p:cNvSpPr>
          <p:nvPr>
            <p:ph type="subTitle" idx="1"/>
          </p:nvPr>
        </p:nvSpPr>
        <p:spPr>
          <a:xfrm>
            <a:off x="2402840" y="3567107"/>
            <a:ext cx="6233160" cy="804843"/>
          </a:xfrm>
          <a:prstGeom prst="rect">
            <a:avLst/>
          </a:prstGeom>
        </p:spPr>
        <p:txBody>
          <a:bodyPr/>
          <a:lstStyle>
            <a:lvl1pPr marL="0" indent="0" algn="l">
              <a:buNone/>
              <a:defRPr sz="2800">
                <a:solidFill>
                  <a:schemeClr val="bg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GB" dirty="0"/>
              <a:t>Click to edit Master subtitle style</a:t>
            </a:r>
            <a:endParaRPr lang="en-US" dirty="0"/>
          </a:p>
        </p:txBody>
      </p:sp>
    </p:spTree>
    <p:extLst>
      <p:ext uri="{BB962C8B-B14F-4D97-AF65-F5344CB8AC3E}">
        <p14:creationId xmlns:p14="http://schemas.microsoft.com/office/powerpoint/2010/main" val="18827221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SMA Image and content slide03">
    <p:spTree>
      <p:nvGrpSpPr>
        <p:cNvPr id="1" name=""/>
        <p:cNvGrpSpPr/>
        <p:nvPr/>
      </p:nvGrpSpPr>
      <p:grpSpPr>
        <a:xfrm>
          <a:off x="0" y="0"/>
          <a:ext cx="0" cy="0"/>
          <a:chOff x="0" y="0"/>
          <a:chExt cx="0" cy="0"/>
        </a:xfrm>
      </p:grpSpPr>
      <p:sp>
        <p:nvSpPr>
          <p:cNvPr id="4" name="Picture Placeholder 16"/>
          <p:cNvSpPr>
            <a:spLocks noGrp="1"/>
          </p:cNvSpPr>
          <p:nvPr>
            <p:ph type="pic" sz="quarter" idx="59"/>
          </p:nvPr>
        </p:nvSpPr>
        <p:spPr>
          <a:xfrm>
            <a:off x="1" y="1152525"/>
            <a:ext cx="4535488" cy="3581401"/>
          </a:xfrm>
          <a:prstGeom prst="rect">
            <a:avLst/>
          </a:prstGeom>
        </p:spPr>
        <p:txBody>
          <a:bodyPr/>
          <a:lstStyle/>
          <a:p>
            <a:endParaRPr lang="en-JM" dirty="0"/>
          </a:p>
        </p:txBody>
      </p:sp>
      <p:sp>
        <p:nvSpPr>
          <p:cNvPr id="5" name="Content Placeholder 3"/>
          <p:cNvSpPr>
            <a:spLocks noGrp="1"/>
          </p:cNvSpPr>
          <p:nvPr>
            <p:ph sz="half" idx="2"/>
          </p:nvPr>
        </p:nvSpPr>
        <p:spPr>
          <a:xfrm>
            <a:off x="4629151" y="1164432"/>
            <a:ext cx="4124324" cy="3569494"/>
          </a:xfrm>
          <a:prstGeom prst="rect">
            <a:avLst/>
          </a:prstGeom>
        </p:spPr>
        <p:txBody>
          <a:bodyPr/>
          <a:lstStyle>
            <a:lvl1pPr marL="0" indent="0">
              <a:buFont typeface="+mj-lt"/>
              <a:buNone/>
              <a:defRPr sz="1300">
                <a:solidFill>
                  <a:srgbClr val="575756"/>
                </a:solidFill>
                <a:latin typeface="Arial" panose="020B0604020202020204" pitchFamily="34" charset="0"/>
                <a:cs typeface="Arial" panose="020B0604020202020204" pitchFamily="34" charset="0"/>
              </a:defRPr>
            </a:lvl1pPr>
            <a:lvl2pPr>
              <a:defRPr sz="1400">
                <a:solidFill>
                  <a:srgbClr val="575756"/>
                </a:solidFill>
              </a:defRPr>
            </a:lvl2pPr>
            <a:lvl3pPr>
              <a:defRPr sz="1400"/>
            </a:lvl3pPr>
            <a:lvl4pPr>
              <a:defRPr sz="1200"/>
            </a:lvl4pPr>
            <a:lvl5pPr marL="1828823" indent="0">
              <a:buNone/>
              <a:defRPr sz="1200"/>
            </a:lvl5pPr>
            <a:lvl6pPr>
              <a:defRPr sz="1600"/>
            </a:lvl6pPr>
            <a:lvl7pPr>
              <a:defRPr sz="1600"/>
            </a:lvl7pPr>
            <a:lvl8pPr>
              <a:defRPr sz="1600"/>
            </a:lvl8pPr>
            <a:lvl9pPr>
              <a:defRPr sz="1600"/>
            </a:lvl9pPr>
          </a:lstStyle>
          <a:p>
            <a:pPr lvl="0"/>
            <a:r>
              <a:rPr lang="en-US" dirty="0"/>
              <a:t>Click to edit Master text styles</a:t>
            </a:r>
          </a:p>
        </p:txBody>
      </p:sp>
      <p:sp>
        <p:nvSpPr>
          <p:cNvPr id="8" name="Title Placeholder 1"/>
          <p:cNvSpPr>
            <a:spLocks noGrp="1"/>
          </p:cNvSpPr>
          <p:nvPr>
            <p:ph type="title"/>
          </p:nvPr>
        </p:nvSpPr>
        <p:spPr>
          <a:xfrm>
            <a:off x="1079999" y="216000"/>
            <a:ext cx="6892927" cy="857250"/>
          </a:xfrm>
          <a:prstGeom prst="rect">
            <a:avLst/>
          </a:prstGeom>
        </p:spPr>
        <p:txBody>
          <a:bodyPr vert="horz" lIns="91440" tIns="45720" rIns="91440" bIns="45720" rtlCol="0" anchor="ctr">
            <a:normAutofit/>
          </a:bodyPr>
          <a:lstStyle>
            <a:lvl1pPr>
              <a:defRPr sz="2400" b="0">
                <a:solidFill>
                  <a:srgbClr val="575756"/>
                </a:solidFill>
                <a:latin typeface="Arial" panose="020B0604020202020204" pitchFamily="34" charset="0"/>
                <a:cs typeface="Arial" panose="020B0604020202020204"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val="36506474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GSMA Image and content slid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815136" y="1164432"/>
            <a:ext cx="4040188" cy="3569494"/>
          </a:xfrm>
          <a:prstGeom prst="rect">
            <a:avLst/>
          </a:prstGeom>
        </p:spPr>
        <p:txBody>
          <a:bodyPr/>
          <a:lstStyle>
            <a:lvl1pPr marL="0" indent="0">
              <a:buNone/>
              <a:defRPr sz="1300">
                <a:solidFill>
                  <a:srgbClr val="575756"/>
                </a:solidFill>
                <a:latin typeface="Arial" panose="020B0604020202020204" pitchFamily="34" charset="0"/>
                <a:cs typeface="Arial" panose="020B0604020202020204" pitchFamily="34" charset="0"/>
              </a:defRPr>
            </a:lvl1pPr>
            <a:lvl2pPr marL="457206" indent="0">
              <a:buNone/>
              <a:defRPr sz="1600">
                <a:solidFill>
                  <a:srgbClr val="575756"/>
                </a:solidFill>
                <a:latin typeface="Arial" panose="020B0604020202020204" pitchFamily="34" charset="0"/>
                <a:cs typeface="Arial" panose="020B0604020202020204" pitchFamily="34" charset="0"/>
              </a:defRPr>
            </a:lvl2pPr>
            <a:lvl3pPr marL="914411" indent="0">
              <a:buNone/>
              <a:defRPr sz="1600">
                <a:latin typeface="Arial" panose="020B0604020202020204" pitchFamily="34" charset="0"/>
                <a:cs typeface="Arial" panose="020B0604020202020204" pitchFamily="34" charset="0"/>
              </a:defRPr>
            </a:lvl3pPr>
            <a:lvl4pPr marL="1371617" indent="0">
              <a:buNone/>
              <a:defRPr sz="1600">
                <a:latin typeface="Arial" panose="020B0604020202020204" pitchFamily="34" charset="0"/>
                <a:cs typeface="Arial" panose="020B0604020202020204" pitchFamily="34" charset="0"/>
              </a:defRPr>
            </a:lvl4pPr>
            <a:lvl5pPr marL="1828823" indent="0">
              <a:buFont typeface="Arial" panose="020B0604020202020204" pitchFamily="34" charset="0"/>
              <a:buNone/>
              <a:defRPr sz="16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a:t>Click to edit Master text styles</a:t>
            </a:r>
          </a:p>
        </p:txBody>
      </p:sp>
      <p:sp>
        <p:nvSpPr>
          <p:cNvPr id="5" name="Picture Placeholder 16"/>
          <p:cNvSpPr>
            <a:spLocks noGrp="1"/>
          </p:cNvSpPr>
          <p:nvPr>
            <p:ph type="pic" sz="quarter" idx="59"/>
          </p:nvPr>
        </p:nvSpPr>
        <p:spPr>
          <a:xfrm>
            <a:off x="1" y="1152525"/>
            <a:ext cx="4657725" cy="3571876"/>
          </a:xfrm>
          <a:prstGeom prst="rect">
            <a:avLst/>
          </a:prstGeom>
        </p:spPr>
        <p:txBody>
          <a:bodyPr/>
          <a:lstStyle/>
          <a:p>
            <a:endParaRPr lang="en-JM" dirty="0"/>
          </a:p>
        </p:txBody>
      </p:sp>
      <p:sp>
        <p:nvSpPr>
          <p:cNvPr id="8" name="Title Placeholder 1"/>
          <p:cNvSpPr>
            <a:spLocks noGrp="1"/>
          </p:cNvSpPr>
          <p:nvPr>
            <p:ph type="title"/>
          </p:nvPr>
        </p:nvSpPr>
        <p:spPr>
          <a:xfrm>
            <a:off x="1079999" y="216000"/>
            <a:ext cx="6892927" cy="857250"/>
          </a:xfrm>
          <a:prstGeom prst="rect">
            <a:avLst/>
          </a:prstGeom>
        </p:spPr>
        <p:txBody>
          <a:bodyPr vert="horz" lIns="91440" tIns="45720" rIns="91440" bIns="45720" rtlCol="0" anchor="ctr">
            <a:normAutofit/>
          </a:bodyPr>
          <a:lstStyle>
            <a:lvl1pPr>
              <a:defRPr sz="2400" b="0">
                <a:solidFill>
                  <a:srgbClr val="575756"/>
                </a:solidFill>
                <a:latin typeface="Arial" panose="020B0604020202020204" pitchFamily="34" charset="0"/>
                <a:cs typeface="Arial" panose="020B0604020202020204"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val="38569691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SMA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737"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ontent Placeholder 13"/>
          <p:cNvSpPr>
            <a:spLocks noGrp="1"/>
          </p:cNvSpPr>
          <p:nvPr>
            <p:ph sz="quarter" idx="14"/>
          </p:nvPr>
        </p:nvSpPr>
        <p:spPr>
          <a:xfrm>
            <a:off x="1349152" y="1219108"/>
            <a:ext cx="7399312" cy="3168352"/>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dirty="0" smtClean="0"/>
              <a:t>Click to edit Master text styles</a:t>
            </a:r>
          </a:p>
        </p:txBody>
      </p:sp>
      <p:sp>
        <p:nvSpPr>
          <p:cNvPr id="5" name="Slide Number Placeholder 4"/>
          <p:cNvSpPr>
            <a:spLocks noGrp="1"/>
          </p:cNvSpPr>
          <p:nvPr>
            <p:ph type="sldNum" sz="quarter" idx="15"/>
          </p:nvPr>
        </p:nvSpPr>
        <p:spPr/>
        <p:txBody>
          <a:bodyPr/>
          <a:lstStyle/>
          <a:p>
            <a:fld id="{E52D2AFC-71C4-4511-B128-4ECEE52D3027}" type="slidenum">
              <a:rPr lang="en-ZA" smtClean="0"/>
              <a:pPr/>
              <a:t>‹#›</a:t>
            </a:fld>
            <a:endParaRPr lang="en-ZA" dirty="0"/>
          </a:p>
        </p:txBody>
      </p:sp>
      <p:sp>
        <p:nvSpPr>
          <p:cNvPr id="7" name="Title Placeholder 1"/>
          <p:cNvSpPr>
            <a:spLocks noGrp="1"/>
          </p:cNvSpPr>
          <p:nvPr>
            <p:ph type="title"/>
          </p:nvPr>
        </p:nvSpPr>
        <p:spPr>
          <a:xfrm>
            <a:off x="1341130" y="267494"/>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smtClean="0"/>
              <a:t>Click to edit Master title style</a:t>
            </a:r>
            <a:endParaRPr lang="en-ZA" dirty="0"/>
          </a:p>
        </p:txBody>
      </p:sp>
    </p:spTree>
    <p:extLst>
      <p:ext uri="{BB962C8B-B14F-4D97-AF65-F5344CB8AC3E}">
        <p14:creationId xmlns:p14="http://schemas.microsoft.com/office/powerpoint/2010/main" val="2752099789"/>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ayout without li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761" name="think-cell Slide" r:id="rId4" imgW="461" imgH="462" progId="TCLayout.ActiveDocument.1">
                  <p:embed/>
                </p:oleObj>
              </mc:Choice>
              <mc:Fallback>
                <p:oleObj name="think-cell Slide" r:id="rId4" imgW="461" imgH="462"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E52D2AFC-71C4-4511-B128-4ECEE52D3027}" type="slidenum">
              <a:rPr lang="en-ZA" smtClean="0"/>
              <a:pPr/>
              <a:t>‹#›</a:t>
            </a:fld>
            <a:endParaRPr lang="en-ZA" dirty="0"/>
          </a:p>
        </p:txBody>
      </p:sp>
      <p:sp>
        <p:nvSpPr>
          <p:cNvPr id="4" name="Rectangle 3"/>
          <p:cNvSpPr/>
          <p:nvPr userDrawn="1"/>
        </p:nvSpPr>
        <p:spPr>
          <a:xfrm>
            <a:off x="420688" y="4659982"/>
            <a:ext cx="8327776" cy="1668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Placeholder 1"/>
          <p:cNvSpPr>
            <a:spLocks noGrp="1"/>
          </p:cNvSpPr>
          <p:nvPr>
            <p:ph type="title"/>
          </p:nvPr>
        </p:nvSpPr>
        <p:spPr>
          <a:xfrm>
            <a:off x="1349152" y="267494"/>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smtClean="0"/>
              <a:t>Click to edit Master title style</a:t>
            </a:r>
            <a:endParaRPr lang="en-ZA" dirty="0"/>
          </a:p>
        </p:txBody>
      </p:sp>
      <p:sp>
        <p:nvSpPr>
          <p:cNvPr id="6" name="Content Placeholder 13"/>
          <p:cNvSpPr>
            <a:spLocks noGrp="1"/>
          </p:cNvSpPr>
          <p:nvPr>
            <p:ph sz="quarter" idx="14"/>
          </p:nvPr>
        </p:nvSpPr>
        <p:spPr>
          <a:xfrm>
            <a:off x="1349152" y="1268760"/>
            <a:ext cx="7399312" cy="3168352"/>
          </a:xfrm>
          <a:prstGeom prst="rect">
            <a:avLst/>
          </a:prstGeom>
        </p:spPr>
        <p:txBody>
          <a:bodyPr>
            <a:normAutofit/>
          </a:bodyPr>
          <a:lstStyle>
            <a:lvl1pPr algn="l">
              <a:buNone/>
              <a:defRPr sz="1400" b="0" i="0">
                <a:solidFill>
                  <a:schemeClr val="tx2"/>
                </a:solidFill>
                <a:latin typeface="Arial" panose="020B0604020202020204" pitchFamily="34" charset="0"/>
                <a:cs typeface="Arial" panose="020B060402020202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39411231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SMA Title and Bullete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785"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349152" y="1271793"/>
            <a:ext cx="7399312" cy="3185146"/>
          </a:xfrm>
          <a:prstGeom prst="rect">
            <a:avLst/>
          </a:prstGeom>
        </p:spPr>
        <p:txBody>
          <a:bodyPr/>
          <a:lstStyle>
            <a:lvl1pPr marL="342900" indent="-342900">
              <a:buClr>
                <a:srgbClr val="E30613"/>
              </a:buClr>
              <a:buSzPct val="90000"/>
              <a:buFont typeface="Wingdings" charset="2"/>
              <a:buChar char="§"/>
              <a:defRPr>
                <a:solidFill>
                  <a:schemeClr val="tx2"/>
                </a:solidFill>
              </a:defRPr>
            </a:lvl1pPr>
            <a:lvl2pPr marL="742950" indent="-285750">
              <a:buClr>
                <a:srgbClr val="E30613"/>
              </a:buClr>
              <a:buSzPct val="90000"/>
              <a:buFont typeface="Wingdings" charset="2"/>
              <a:buChar char="§"/>
              <a:defRPr>
                <a:solidFill>
                  <a:schemeClr val="tx2"/>
                </a:solidFill>
              </a:defRPr>
            </a:lvl2pPr>
            <a:lvl3pPr marL="1143000" indent="-228600">
              <a:buClr>
                <a:srgbClr val="E30613"/>
              </a:buClr>
              <a:buSzPct val="90000"/>
              <a:buFont typeface="Wingdings" charset="2"/>
              <a:buChar char="§"/>
              <a:defRPr>
                <a:solidFill>
                  <a:schemeClr val="tx2"/>
                </a:solidFill>
              </a:defRPr>
            </a:lvl3pPr>
            <a:lvl4pPr marL="1600200" indent="-228600">
              <a:buClr>
                <a:srgbClr val="E30613"/>
              </a:buClr>
              <a:buSzPct val="90000"/>
              <a:buFont typeface="Wingdings" charset="2"/>
              <a:buChar char="§"/>
              <a:defRPr>
                <a:solidFill>
                  <a:schemeClr val="tx2"/>
                </a:solidFill>
              </a:defRPr>
            </a:lvl4pPr>
            <a:lvl5pPr marL="2057400" indent="-228600">
              <a:buClr>
                <a:srgbClr val="E30613"/>
              </a:buClr>
              <a:buSzPct val="90000"/>
              <a:buFont typeface="Wingdings" charset="2"/>
              <a:buChar char="§"/>
              <a:defRPr>
                <a:solidFill>
                  <a:schemeClr val="tx2"/>
                </a:solidFill>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Slide Number Placeholder 4"/>
          <p:cNvSpPr>
            <a:spLocks noGrp="1"/>
          </p:cNvSpPr>
          <p:nvPr>
            <p:ph type="sldNum" sz="quarter" idx="15"/>
          </p:nvPr>
        </p:nvSpPr>
        <p:spPr>
          <a:xfrm>
            <a:off x="420688" y="4826858"/>
            <a:ext cx="2133600" cy="273844"/>
          </a:xfrm>
        </p:spPr>
        <p:txBody>
          <a:bodyPr/>
          <a:lstStyle/>
          <a:p>
            <a:fld id="{E52D2AFC-71C4-4511-B128-4ECEE52D3027}" type="slidenum">
              <a:rPr lang="en-ZA" smtClean="0"/>
              <a:pPr/>
              <a:t>‹#›</a:t>
            </a:fld>
            <a:endParaRPr lang="en-ZA" dirty="0"/>
          </a:p>
        </p:txBody>
      </p:sp>
      <p:sp>
        <p:nvSpPr>
          <p:cNvPr id="5" name="Title Placeholder 1"/>
          <p:cNvSpPr>
            <a:spLocks noGrp="1"/>
          </p:cNvSpPr>
          <p:nvPr>
            <p:ph type="title"/>
          </p:nvPr>
        </p:nvSpPr>
        <p:spPr>
          <a:xfrm>
            <a:off x="1349152" y="267494"/>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smtClean="0"/>
              <a:t>Click to edit Master title style</a:t>
            </a:r>
            <a:endParaRPr lang="en-ZA" dirty="0"/>
          </a:p>
        </p:txBody>
      </p:sp>
    </p:spTree>
    <p:extLst>
      <p:ext uri="{BB962C8B-B14F-4D97-AF65-F5344CB8AC3E}">
        <p14:creationId xmlns:p14="http://schemas.microsoft.com/office/powerpoint/2010/main" val="289289759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E52D2AFC-71C4-4511-B128-4ECEE52D3027}" type="slidenum">
              <a:rPr lang="en-ZA" smtClean="0"/>
              <a:pPr/>
              <a:t>‹#›</a:t>
            </a:fld>
            <a:endParaRPr lang="en-ZA" dirty="0"/>
          </a:p>
        </p:txBody>
      </p:sp>
    </p:spTree>
    <p:extLst>
      <p:ext uri="{BB962C8B-B14F-4D97-AF65-F5344CB8AC3E}">
        <p14:creationId xmlns:p14="http://schemas.microsoft.com/office/powerpoint/2010/main" val="4272677840"/>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SMA Title and Two Column slide">
    <p:spTree>
      <p:nvGrpSpPr>
        <p:cNvPr id="1" name=""/>
        <p:cNvGrpSpPr/>
        <p:nvPr/>
      </p:nvGrpSpPr>
      <p:grpSpPr>
        <a:xfrm>
          <a:off x="0" y="0"/>
          <a:ext cx="0" cy="0"/>
          <a:chOff x="0" y="0"/>
          <a:chExt cx="0" cy="0"/>
        </a:xfrm>
      </p:grpSpPr>
      <p:sp>
        <p:nvSpPr>
          <p:cNvPr id="9" name="Text Placeholder 2"/>
          <p:cNvSpPr>
            <a:spLocks noGrp="1"/>
          </p:cNvSpPr>
          <p:nvPr>
            <p:ph type="body" idx="1"/>
          </p:nvPr>
        </p:nvSpPr>
        <p:spPr>
          <a:xfrm>
            <a:off x="414586" y="1424111"/>
            <a:ext cx="4040188"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0" name="Content Placeholder 3"/>
          <p:cNvSpPr>
            <a:spLocks noGrp="1"/>
          </p:cNvSpPr>
          <p:nvPr>
            <p:ph sz="half" idx="2"/>
          </p:nvPr>
        </p:nvSpPr>
        <p:spPr>
          <a:xfrm>
            <a:off x="414586" y="1779662"/>
            <a:ext cx="4040188"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JM" dirty="0"/>
          </a:p>
        </p:txBody>
      </p:sp>
      <p:sp>
        <p:nvSpPr>
          <p:cNvPr id="11" name="Text Placeholder 4"/>
          <p:cNvSpPr>
            <a:spLocks noGrp="1"/>
          </p:cNvSpPr>
          <p:nvPr>
            <p:ph type="body" sz="quarter" idx="3"/>
          </p:nvPr>
        </p:nvSpPr>
        <p:spPr>
          <a:xfrm>
            <a:off x="4645026" y="1424111"/>
            <a:ext cx="4041775" cy="355551"/>
          </a:xfrm>
          <a:prstGeom prst="rect">
            <a:avLst/>
          </a:prstGeom>
        </p:spPr>
        <p:txBody>
          <a:bodyPr anchor="t" anchorCtr="0">
            <a:norm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2" name="Content Placeholder 5"/>
          <p:cNvSpPr>
            <a:spLocks noGrp="1"/>
          </p:cNvSpPr>
          <p:nvPr>
            <p:ph sz="quarter" idx="4"/>
          </p:nvPr>
        </p:nvSpPr>
        <p:spPr>
          <a:xfrm>
            <a:off x="4645026" y="1779662"/>
            <a:ext cx="4041775" cy="2814960"/>
          </a:xfrm>
          <a:prstGeom prst="rect">
            <a:avLst/>
          </a:prstGeom>
        </p:spPr>
        <p:txBody>
          <a:bodyPr/>
          <a:lstStyle>
            <a:lvl1pPr marL="342900" indent="-342900">
              <a:buClr>
                <a:srgbClr val="E30613"/>
              </a:buClr>
              <a:buSzPct val="90000"/>
              <a:buFont typeface="Wingdings" charset="2"/>
              <a:buChar char="§"/>
              <a:defRPr sz="1400">
                <a:solidFill>
                  <a:schemeClr val="tx1"/>
                </a:solidFill>
              </a:defRPr>
            </a:lvl1pPr>
            <a:lvl2pPr marL="742950" indent="-285750">
              <a:buClr>
                <a:srgbClr val="E30613"/>
              </a:buClr>
              <a:buSzPct val="90000"/>
              <a:buFont typeface="Wingdings" charset="2"/>
              <a:buChar char="§"/>
              <a:defRPr sz="1400">
                <a:solidFill>
                  <a:schemeClr val="tx1"/>
                </a:solidFill>
              </a:defRPr>
            </a:lvl2pPr>
            <a:lvl3pPr marL="1143000" indent="-228600">
              <a:buClr>
                <a:srgbClr val="E30613"/>
              </a:buClr>
              <a:buSzPct val="90000"/>
              <a:buFont typeface="Wingdings" charset="2"/>
              <a:buChar char="§"/>
              <a:defRPr sz="1400">
                <a:solidFill>
                  <a:schemeClr val="tx1"/>
                </a:solidFill>
              </a:defRPr>
            </a:lvl3pPr>
            <a:lvl4pPr marL="1600200" indent="-228600">
              <a:buClr>
                <a:srgbClr val="E30613"/>
              </a:buClr>
              <a:buSzPct val="90000"/>
              <a:buFont typeface="Wingdings" charset="2"/>
              <a:buChar char="§"/>
              <a:defRPr sz="1200">
                <a:solidFill>
                  <a:schemeClr val="tx1"/>
                </a:solidFill>
              </a:defRPr>
            </a:lvl4pPr>
            <a:lvl5pPr marL="2057400" indent="-228600">
              <a:buClr>
                <a:srgbClr val="E30613"/>
              </a:buClr>
              <a:buSzPct val="90000"/>
              <a:buFont typeface="Wingdings" charset="2"/>
              <a:buChar char="§"/>
              <a:defRPr sz="1200">
                <a:solidFill>
                  <a:schemeClr val="tx1"/>
                </a:solidFil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JM" dirty="0"/>
          </a:p>
        </p:txBody>
      </p:sp>
      <p:sp>
        <p:nvSpPr>
          <p:cNvPr id="2" name="Slide Number Placeholder 1"/>
          <p:cNvSpPr>
            <a:spLocks noGrp="1"/>
          </p:cNvSpPr>
          <p:nvPr>
            <p:ph type="sldNum" sz="quarter" idx="10"/>
          </p:nvPr>
        </p:nvSpPr>
        <p:spPr/>
        <p:txBody>
          <a:bodyPr/>
          <a:lstStyle/>
          <a:p>
            <a:fld id="{E52D2AFC-71C4-4511-B128-4ECEE52D3027}" type="slidenum">
              <a:rPr lang="en-ZA" smtClean="0"/>
              <a:pPr/>
              <a:t>‹#›</a:t>
            </a:fld>
            <a:endParaRPr lang="en-ZA" dirty="0"/>
          </a:p>
        </p:txBody>
      </p:sp>
      <p:sp>
        <p:nvSpPr>
          <p:cNvPr id="8" name="Title Placeholder 1"/>
          <p:cNvSpPr>
            <a:spLocks noGrp="1"/>
          </p:cNvSpPr>
          <p:nvPr>
            <p:ph type="title"/>
          </p:nvPr>
        </p:nvSpPr>
        <p:spPr>
          <a:xfrm>
            <a:off x="1349152" y="267494"/>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smtClean="0"/>
              <a:t>Click to edit Master title style</a:t>
            </a:r>
            <a:endParaRPr lang="en-ZA" dirty="0"/>
          </a:p>
        </p:txBody>
      </p:sp>
    </p:spTree>
    <p:extLst>
      <p:ext uri="{BB962C8B-B14F-4D97-AF65-F5344CB8AC3E}">
        <p14:creationId xmlns:p14="http://schemas.microsoft.com/office/powerpoint/2010/main" val="2246882131"/>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SMA Title and three column slide">
    <p:spTree>
      <p:nvGrpSpPr>
        <p:cNvPr id="1" name=""/>
        <p:cNvGrpSpPr/>
        <p:nvPr/>
      </p:nvGrpSpPr>
      <p:grpSpPr>
        <a:xfrm>
          <a:off x="0" y="0"/>
          <a:ext cx="0" cy="0"/>
          <a:chOff x="0" y="0"/>
          <a:chExt cx="0" cy="0"/>
        </a:xfrm>
      </p:grpSpPr>
      <p:sp>
        <p:nvSpPr>
          <p:cNvPr id="4" name="Content Placeholder 13"/>
          <p:cNvSpPr>
            <a:spLocks noGrp="1"/>
          </p:cNvSpPr>
          <p:nvPr>
            <p:ph sz="quarter" idx="13"/>
          </p:nvPr>
        </p:nvSpPr>
        <p:spPr>
          <a:xfrm>
            <a:off x="433136" y="1747865"/>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6" name="Content Placeholder 13"/>
          <p:cNvSpPr>
            <a:spLocks noGrp="1"/>
          </p:cNvSpPr>
          <p:nvPr>
            <p:ph sz="quarter" idx="14"/>
          </p:nvPr>
        </p:nvSpPr>
        <p:spPr>
          <a:xfrm>
            <a:off x="3312694" y="1739844"/>
            <a:ext cx="2482680" cy="2912117"/>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7" name="Content Placeholder 13"/>
          <p:cNvSpPr>
            <a:spLocks noGrp="1"/>
          </p:cNvSpPr>
          <p:nvPr>
            <p:ph sz="quarter" idx="15"/>
          </p:nvPr>
        </p:nvSpPr>
        <p:spPr>
          <a:xfrm>
            <a:off x="6216315" y="1747865"/>
            <a:ext cx="2482680" cy="2904096"/>
          </a:xfrm>
          <a:prstGeom prst="rect">
            <a:avLst/>
          </a:prstGeom>
        </p:spPr>
        <p:txBody>
          <a:bodyPr>
            <a:normAutofit/>
          </a:bodyPr>
          <a:lstStyle>
            <a:lvl1pPr marL="0" indent="0" algn="l">
              <a:buFont typeface="Arial" panose="020B0604020202020204" pitchFamily="34" charset="0"/>
              <a:buNone/>
              <a:defRPr sz="1400" b="0" i="0">
                <a:solidFill>
                  <a:schemeClr val="tx2"/>
                </a:solidFill>
                <a:latin typeface="Arial" panose="020B0604020202020204" pitchFamily="34" charset="0"/>
                <a:cs typeface="Arial" panose="020B0604020202020204" pitchFamily="34" charset="0"/>
              </a:defRPr>
            </a:lvl1pPr>
          </a:lstStyle>
          <a:p>
            <a:pPr lvl="0"/>
            <a:r>
              <a:rPr lang="en-US" smtClean="0"/>
              <a:t>Click to edit Master text styles</a:t>
            </a:r>
          </a:p>
        </p:txBody>
      </p:sp>
      <p:sp>
        <p:nvSpPr>
          <p:cNvPr id="8" name="Text Placeholder 4"/>
          <p:cNvSpPr>
            <a:spLocks noGrp="1"/>
          </p:cNvSpPr>
          <p:nvPr>
            <p:ph type="body" sz="quarter" idx="3" hasCustomPrompt="1"/>
          </p:nvPr>
        </p:nvSpPr>
        <p:spPr>
          <a:xfrm>
            <a:off x="443336" y="1450982"/>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text styles</a:t>
            </a:r>
          </a:p>
        </p:txBody>
      </p:sp>
      <p:sp>
        <p:nvSpPr>
          <p:cNvPr id="9" name="Text Placeholder 4"/>
          <p:cNvSpPr>
            <a:spLocks noGrp="1"/>
          </p:cNvSpPr>
          <p:nvPr>
            <p:ph type="body" sz="quarter" idx="16" hasCustomPrompt="1"/>
          </p:nvPr>
        </p:nvSpPr>
        <p:spPr>
          <a:xfrm>
            <a:off x="3322894" y="1450983"/>
            <a:ext cx="2472480" cy="288032"/>
          </a:xfrm>
          <a:prstGeom prst="rect">
            <a:avLst/>
          </a:prstGeom>
        </p:spPr>
        <p:txBody>
          <a:bodyPr anchor="t" anchorCtr="0">
            <a:noAutofit/>
          </a:bodyPr>
          <a:lstStyle>
            <a:lvl1pPr marL="0" indent="0">
              <a:buNone/>
              <a:defRPr sz="1400" b="1">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text styles</a:t>
            </a:r>
          </a:p>
        </p:txBody>
      </p:sp>
      <p:sp>
        <p:nvSpPr>
          <p:cNvPr id="10" name="Text Placeholder 4"/>
          <p:cNvSpPr>
            <a:spLocks noGrp="1"/>
          </p:cNvSpPr>
          <p:nvPr>
            <p:ph type="body" sz="quarter" idx="17" hasCustomPrompt="1"/>
          </p:nvPr>
        </p:nvSpPr>
        <p:spPr>
          <a:xfrm>
            <a:off x="6226515" y="1450982"/>
            <a:ext cx="2472480" cy="288032"/>
          </a:xfrm>
          <a:prstGeom prst="rect">
            <a:avLst/>
          </a:prstGeom>
        </p:spPr>
        <p:txBody>
          <a:bodyPr anchor="t" anchorCtr="0">
            <a:noAutofit/>
          </a:bodyPr>
          <a:lstStyle>
            <a:lvl1pPr marL="0" indent="0">
              <a:buNone/>
              <a:defRPr sz="1400" b="1" baseline="0">
                <a:solidFill>
                  <a:srgbClr val="5757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text styles</a:t>
            </a:r>
          </a:p>
        </p:txBody>
      </p:sp>
      <p:sp>
        <p:nvSpPr>
          <p:cNvPr id="2" name="Slide Number Placeholder 1"/>
          <p:cNvSpPr>
            <a:spLocks noGrp="1"/>
          </p:cNvSpPr>
          <p:nvPr>
            <p:ph type="sldNum" sz="quarter" idx="18"/>
          </p:nvPr>
        </p:nvSpPr>
        <p:spPr/>
        <p:txBody>
          <a:bodyPr/>
          <a:lstStyle/>
          <a:p>
            <a:fld id="{E52D2AFC-71C4-4511-B128-4ECEE52D3027}" type="slidenum">
              <a:rPr lang="en-ZA" smtClean="0"/>
              <a:pPr/>
              <a:t>‹#›</a:t>
            </a:fld>
            <a:endParaRPr lang="en-ZA" dirty="0"/>
          </a:p>
        </p:txBody>
      </p:sp>
      <p:sp>
        <p:nvSpPr>
          <p:cNvPr id="12" name="Title Placeholder 1"/>
          <p:cNvSpPr>
            <a:spLocks noGrp="1"/>
          </p:cNvSpPr>
          <p:nvPr>
            <p:ph type="title"/>
          </p:nvPr>
        </p:nvSpPr>
        <p:spPr>
          <a:xfrm>
            <a:off x="1349152" y="267494"/>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smtClean="0"/>
              <a:t>Click to edit Master title style</a:t>
            </a:r>
            <a:endParaRPr lang="en-ZA" dirty="0"/>
          </a:p>
        </p:txBody>
      </p:sp>
    </p:spTree>
    <p:extLst>
      <p:ext uri="{BB962C8B-B14F-4D97-AF65-F5344CB8AC3E}">
        <p14:creationId xmlns:p14="http://schemas.microsoft.com/office/powerpoint/2010/main" val="427634471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3594537" y="1366081"/>
            <a:ext cx="4595647" cy="3142844"/>
          </a:xfrm>
          <a:prstGeom prst="rect">
            <a:avLst/>
          </a:prstGeom>
        </p:spPr>
        <p:txBody>
          <a:bodyPr vert="horz" lIns="91440" tIns="45720" rIns="91440" bIns="45720" rtlCol="0">
            <a:noAutofit/>
          </a:bodyPr>
          <a:lstStyle>
            <a:lvl1pPr marL="0" indent="0">
              <a:buNone/>
              <a:defRPr sz="900" baseline="0">
                <a:solidFill>
                  <a:schemeClr val="tx1"/>
                </a:solidFill>
              </a:defRPr>
            </a:lvl1pPr>
          </a:lstStyle>
          <a:p>
            <a:pPr lvl="0"/>
            <a:r>
              <a:rPr lang="en-JM" dirty="0"/>
              <a:t>Click to insert content</a:t>
            </a:r>
          </a:p>
        </p:txBody>
      </p:sp>
      <p:sp>
        <p:nvSpPr>
          <p:cNvPr id="8" name="Title Placeholder 1"/>
          <p:cNvSpPr>
            <a:spLocks noGrp="1"/>
          </p:cNvSpPr>
          <p:nvPr>
            <p:ph type="title"/>
          </p:nvPr>
        </p:nvSpPr>
        <p:spPr>
          <a:xfrm>
            <a:off x="3594537" y="864630"/>
            <a:ext cx="4595647" cy="432049"/>
          </a:xfrm>
          <a:prstGeom prst="rect">
            <a:avLst/>
          </a:prstGeom>
        </p:spPr>
        <p:txBody>
          <a:bodyPr vert="horz" lIns="91440" tIns="45720" rIns="91440" bIns="45720" rtlCol="0" anchor="t" anchorCtr="0">
            <a:normAutofit/>
          </a:bodyPr>
          <a:lstStyle>
            <a:lvl1pPr>
              <a:defRPr sz="2000">
                <a:solidFill>
                  <a:srgbClr val="00ACD4"/>
                </a:solidFill>
              </a:defRPr>
            </a:lvl1pPr>
          </a:lstStyle>
          <a:p>
            <a:r>
              <a:rPr lang="en-US" dirty="0"/>
              <a:t>Click to edit Master title style</a:t>
            </a:r>
            <a:endParaRPr lang="en-JM" dirty="0"/>
          </a:p>
        </p:txBody>
      </p:sp>
      <p:sp>
        <p:nvSpPr>
          <p:cNvPr id="13" name="Picture Placeholder 12"/>
          <p:cNvSpPr>
            <a:spLocks noGrp="1"/>
          </p:cNvSpPr>
          <p:nvPr>
            <p:ph type="pic" sz="quarter" idx="10"/>
          </p:nvPr>
        </p:nvSpPr>
        <p:spPr>
          <a:xfrm>
            <a:off x="-2796" y="-2604"/>
            <a:ext cx="3362588" cy="5149790"/>
          </a:xfrm>
          <a:custGeom>
            <a:avLst/>
            <a:gdLst>
              <a:gd name="connsiteX0" fmla="*/ 0 w 3359150"/>
              <a:gd name="connsiteY0" fmla="*/ 425100 h 5143500"/>
              <a:gd name="connsiteX1" fmla="*/ 425100 w 3359150"/>
              <a:gd name="connsiteY1" fmla="*/ 0 h 5143500"/>
              <a:gd name="connsiteX2" fmla="*/ 2934050 w 3359150"/>
              <a:gd name="connsiteY2" fmla="*/ 0 h 5143500"/>
              <a:gd name="connsiteX3" fmla="*/ 3359150 w 3359150"/>
              <a:gd name="connsiteY3" fmla="*/ 42510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2934050 w 3359150"/>
              <a:gd name="connsiteY2" fmla="*/ 0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1917015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3261309 w 3686409"/>
              <a:gd name="connsiteY5" fmla="*/ 5143500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2462412 w 3686409"/>
              <a:gd name="connsiteY5" fmla="*/ 4719988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67333"/>
              <a:gd name="connsiteY0" fmla="*/ 425100 h 5143500"/>
              <a:gd name="connsiteX1" fmla="*/ 2244274 w 3667333"/>
              <a:gd name="connsiteY1" fmla="*/ 0 h 5143500"/>
              <a:gd name="connsiteX2" fmla="*/ 3509121 w 3667333"/>
              <a:gd name="connsiteY2" fmla="*/ 1358598 h 5143500"/>
              <a:gd name="connsiteX3" fmla="*/ 3647908 w 3667333"/>
              <a:gd name="connsiteY3" fmla="*/ 2071020 h 5143500"/>
              <a:gd name="connsiteX4" fmla="*/ 3031891 w 3667333"/>
              <a:gd name="connsiteY4" fmla="*/ 4217886 h 5143500"/>
              <a:gd name="connsiteX5" fmla="*/ 2462412 w 3667333"/>
              <a:gd name="connsiteY5" fmla="*/ 4719988 h 5143500"/>
              <a:gd name="connsiteX6" fmla="*/ 752359 w 3667333"/>
              <a:gd name="connsiteY6" fmla="*/ 5143500 h 5143500"/>
              <a:gd name="connsiteX7" fmla="*/ 0 w 3667333"/>
              <a:gd name="connsiteY7" fmla="*/ 3447865 h 5143500"/>
              <a:gd name="connsiteX8" fmla="*/ 327259 w 3667333"/>
              <a:gd name="connsiteY8" fmla="*/ 425100 h 5143500"/>
              <a:gd name="connsiteX0" fmla="*/ 327259 w 3691611"/>
              <a:gd name="connsiteY0" fmla="*/ 425100 h 5143500"/>
              <a:gd name="connsiteX1" fmla="*/ 2244274 w 3691611"/>
              <a:gd name="connsiteY1" fmla="*/ 0 h 5143500"/>
              <a:gd name="connsiteX2" fmla="*/ 3509121 w 3691611"/>
              <a:gd name="connsiteY2" fmla="*/ 1358598 h 5143500"/>
              <a:gd name="connsiteX3" fmla="*/ 3647908 w 3691611"/>
              <a:gd name="connsiteY3" fmla="*/ 2071020 h 5143500"/>
              <a:gd name="connsiteX4" fmla="*/ 3031891 w 3691611"/>
              <a:gd name="connsiteY4" fmla="*/ 4217886 h 5143500"/>
              <a:gd name="connsiteX5" fmla="*/ 2462412 w 3691611"/>
              <a:gd name="connsiteY5" fmla="*/ 4719988 h 5143500"/>
              <a:gd name="connsiteX6" fmla="*/ 752359 w 3691611"/>
              <a:gd name="connsiteY6" fmla="*/ 5143500 h 5143500"/>
              <a:gd name="connsiteX7" fmla="*/ 0 w 3691611"/>
              <a:gd name="connsiteY7" fmla="*/ 3447865 h 5143500"/>
              <a:gd name="connsiteX8" fmla="*/ 327259 w 3691611"/>
              <a:gd name="connsiteY8" fmla="*/ 425100 h 5143500"/>
              <a:gd name="connsiteX0" fmla="*/ 327259 w 3686530"/>
              <a:gd name="connsiteY0" fmla="*/ 425100 h 5143500"/>
              <a:gd name="connsiteX1" fmla="*/ 2244274 w 3686530"/>
              <a:gd name="connsiteY1" fmla="*/ 0 h 5143500"/>
              <a:gd name="connsiteX2" fmla="*/ 3509121 w 3686530"/>
              <a:gd name="connsiteY2" fmla="*/ 1358598 h 5143500"/>
              <a:gd name="connsiteX3" fmla="*/ 3636847 w 3686530"/>
              <a:gd name="connsiteY3" fmla="*/ 2096830 h 5143500"/>
              <a:gd name="connsiteX4" fmla="*/ 3031891 w 3686530"/>
              <a:gd name="connsiteY4" fmla="*/ 4217886 h 5143500"/>
              <a:gd name="connsiteX5" fmla="*/ 2462412 w 3686530"/>
              <a:gd name="connsiteY5" fmla="*/ 4719988 h 5143500"/>
              <a:gd name="connsiteX6" fmla="*/ 752359 w 3686530"/>
              <a:gd name="connsiteY6" fmla="*/ 5143500 h 5143500"/>
              <a:gd name="connsiteX7" fmla="*/ 0 w 3686530"/>
              <a:gd name="connsiteY7" fmla="*/ 3447865 h 5143500"/>
              <a:gd name="connsiteX8" fmla="*/ 327259 w 3686530"/>
              <a:gd name="connsiteY8" fmla="*/ 425100 h 5143500"/>
              <a:gd name="connsiteX0" fmla="*/ 327259 w 3703888"/>
              <a:gd name="connsiteY0" fmla="*/ 425100 h 5143500"/>
              <a:gd name="connsiteX1" fmla="*/ 2244274 w 3703888"/>
              <a:gd name="connsiteY1" fmla="*/ 0 h 5143500"/>
              <a:gd name="connsiteX2" fmla="*/ 3509121 w 3703888"/>
              <a:gd name="connsiteY2" fmla="*/ 1358598 h 5143500"/>
              <a:gd name="connsiteX3" fmla="*/ 3636847 w 3703888"/>
              <a:gd name="connsiteY3" fmla="*/ 2096830 h 5143500"/>
              <a:gd name="connsiteX4" fmla="*/ 3031891 w 3703888"/>
              <a:gd name="connsiteY4" fmla="*/ 4217886 h 5143500"/>
              <a:gd name="connsiteX5" fmla="*/ 2462412 w 3703888"/>
              <a:gd name="connsiteY5" fmla="*/ 4719988 h 5143500"/>
              <a:gd name="connsiteX6" fmla="*/ 752359 w 3703888"/>
              <a:gd name="connsiteY6" fmla="*/ 5143500 h 5143500"/>
              <a:gd name="connsiteX7" fmla="*/ 0 w 3703888"/>
              <a:gd name="connsiteY7" fmla="*/ 3447865 h 5143500"/>
              <a:gd name="connsiteX8" fmla="*/ 327259 w 3703888"/>
              <a:gd name="connsiteY8" fmla="*/ 425100 h 5143500"/>
              <a:gd name="connsiteX0" fmla="*/ 327259 w 3682668"/>
              <a:gd name="connsiteY0" fmla="*/ 425100 h 5143500"/>
              <a:gd name="connsiteX1" fmla="*/ 2244274 w 3682668"/>
              <a:gd name="connsiteY1" fmla="*/ 0 h 5143500"/>
              <a:gd name="connsiteX2" fmla="*/ 3461189 w 3682668"/>
              <a:gd name="connsiteY2" fmla="*/ 1310666 h 5143500"/>
              <a:gd name="connsiteX3" fmla="*/ 3636847 w 3682668"/>
              <a:gd name="connsiteY3" fmla="*/ 2096830 h 5143500"/>
              <a:gd name="connsiteX4" fmla="*/ 3031891 w 3682668"/>
              <a:gd name="connsiteY4" fmla="*/ 4217886 h 5143500"/>
              <a:gd name="connsiteX5" fmla="*/ 2462412 w 3682668"/>
              <a:gd name="connsiteY5" fmla="*/ 4719988 h 5143500"/>
              <a:gd name="connsiteX6" fmla="*/ 752359 w 3682668"/>
              <a:gd name="connsiteY6" fmla="*/ 5143500 h 5143500"/>
              <a:gd name="connsiteX7" fmla="*/ 0 w 3682668"/>
              <a:gd name="connsiteY7" fmla="*/ 3447865 h 5143500"/>
              <a:gd name="connsiteX8" fmla="*/ 327259 w 3682668"/>
              <a:gd name="connsiteY8" fmla="*/ 425100 h 5143500"/>
              <a:gd name="connsiteX0" fmla="*/ 327259 w 3693650"/>
              <a:gd name="connsiteY0" fmla="*/ 425100 h 5143500"/>
              <a:gd name="connsiteX1" fmla="*/ 2244274 w 3693650"/>
              <a:gd name="connsiteY1" fmla="*/ 0 h 5143500"/>
              <a:gd name="connsiteX2" fmla="*/ 3461189 w 3693650"/>
              <a:gd name="connsiteY2" fmla="*/ 1310666 h 5143500"/>
              <a:gd name="connsiteX3" fmla="*/ 3636847 w 3693650"/>
              <a:gd name="connsiteY3" fmla="*/ 2096830 h 5143500"/>
              <a:gd name="connsiteX4" fmla="*/ 3031891 w 3693650"/>
              <a:gd name="connsiteY4" fmla="*/ 4217886 h 5143500"/>
              <a:gd name="connsiteX5" fmla="*/ 2462412 w 3693650"/>
              <a:gd name="connsiteY5" fmla="*/ 4719988 h 5143500"/>
              <a:gd name="connsiteX6" fmla="*/ 752359 w 3693650"/>
              <a:gd name="connsiteY6" fmla="*/ 5143500 h 5143500"/>
              <a:gd name="connsiteX7" fmla="*/ 0 w 3693650"/>
              <a:gd name="connsiteY7" fmla="*/ 3447865 h 5143500"/>
              <a:gd name="connsiteX8" fmla="*/ 327259 w 3693650"/>
              <a:gd name="connsiteY8" fmla="*/ 425100 h 5143500"/>
              <a:gd name="connsiteX0" fmla="*/ 327259 w 3688927"/>
              <a:gd name="connsiteY0" fmla="*/ 425100 h 5143500"/>
              <a:gd name="connsiteX1" fmla="*/ 2244274 w 3688927"/>
              <a:gd name="connsiteY1" fmla="*/ 0 h 5143500"/>
              <a:gd name="connsiteX2" fmla="*/ 3461189 w 3688927"/>
              <a:gd name="connsiteY2" fmla="*/ 1310666 h 5143500"/>
              <a:gd name="connsiteX3" fmla="*/ 3636847 w 3688927"/>
              <a:gd name="connsiteY3" fmla="*/ 2096830 h 5143500"/>
              <a:gd name="connsiteX4" fmla="*/ 3031891 w 3688927"/>
              <a:gd name="connsiteY4" fmla="*/ 4217886 h 5143500"/>
              <a:gd name="connsiteX5" fmla="*/ 2462412 w 3688927"/>
              <a:gd name="connsiteY5" fmla="*/ 4719988 h 5143500"/>
              <a:gd name="connsiteX6" fmla="*/ 752359 w 3688927"/>
              <a:gd name="connsiteY6" fmla="*/ 5143500 h 5143500"/>
              <a:gd name="connsiteX7" fmla="*/ 0 w 3688927"/>
              <a:gd name="connsiteY7" fmla="*/ 3447865 h 5143500"/>
              <a:gd name="connsiteX8" fmla="*/ 327259 w 3688927"/>
              <a:gd name="connsiteY8" fmla="*/ 425100 h 5143500"/>
              <a:gd name="connsiteX0" fmla="*/ 327259 w 3693208"/>
              <a:gd name="connsiteY0" fmla="*/ 425100 h 5143500"/>
              <a:gd name="connsiteX1" fmla="*/ 2244274 w 3693208"/>
              <a:gd name="connsiteY1" fmla="*/ 0 h 5143500"/>
              <a:gd name="connsiteX2" fmla="*/ 3472251 w 3693208"/>
              <a:gd name="connsiteY2" fmla="*/ 1318040 h 5143500"/>
              <a:gd name="connsiteX3" fmla="*/ 3636847 w 3693208"/>
              <a:gd name="connsiteY3" fmla="*/ 2096830 h 5143500"/>
              <a:gd name="connsiteX4" fmla="*/ 3031891 w 3693208"/>
              <a:gd name="connsiteY4" fmla="*/ 4217886 h 5143500"/>
              <a:gd name="connsiteX5" fmla="*/ 2462412 w 3693208"/>
              <a:gd name="connsiteY5" fmla="*/ 4719988 h 5143500"/>
              <a:gd name="connsiteX6" fmla="*/ 752359 w 3693208"/>
              <a:gd name="connsiteY6" fmla="*/ 5143500 h 5143500"/>
              <a:gd name="connsiteX7" fmla="*/ 0 w 3693208"/>
              <a:gd name="connsiteY7" fmla="*/ 3447865 h 5143500"/>
              <a:gd name="connsiteX8" fmla="*/ 327259 w 3693208"/>
              <a:gd name="connsiteY8" fmla="*/ 425100 h 5143500"/>
              <a:gd name="connsiteX0" fmla="*/ 327259 w 3689737"/>
              <a:gd name="connsiteY0" fmla="*/ 425100 h 5143500"/>
              <a:gd name="connsiteX1" fmla="*/ 2244274 w 3689737"/>
              <a:gd name="connsiteY1" fmla="*/ 0 h 5143500"/>
              <a:gd name="connsiteX2" fmla="*/ 3472251 w 3689737"/>
              <a:gd name="connsiteY2" fmla="*/ 1318040 h 5143500"/>
              <a:gd name="connsiteX3" fmla="*/ 3636847 w 3689737"/>
              <a:gd name="connsiteY3" fmla="*/ 2096830 h 5143500"/>
              <a:gd name="connsiteX4" fmla="*/ 3031891 w 3689737"/>
              <a:gd name="connsiteY4" fmla="*/ 4217886 h 5143500"/>
              <a:gd name="connsiteX5" fmla="*/ 2462412 w 3689737"/>
              <a:gd name="connsiteY5" fmla="*/ 4719988 h 5143500"/>
              <a:gd name="connsiteX6" fmla="*/ 752359 w 3689737"/>
              <a:gd name="connsiteY6" fmla="*/ 5143500 h 5143500"/>
              <a:gd name="connsiteX7" fmla="*/ 0 w 3689737"/>
              <a:gd name="connsiteY7" fmla="*/ 3447865 h 5143500"/>
              <a:gd name="connsiteX8" fmla="*/ 327259 w 3689737"/>
              <a:gd name="connsiteY8" fmla="*/ 425100 h 5143500"/>
              <a:gd name="connsiteX0" fmla="*/ 327259 w 3692863"/>
              <a:gd name="connsiteY0" fmla="*/ 425100 h 5143500"/>
              <a:gd name="connsiteX1" fmla="*/ 2244274 w 3692863"/>
              <a:gd name="connsiteY1" fmla="*/ 0 h 5143500"/>
              <a:gd name="connsiteX2" fmla="*/ 3472251 w 3692863"/>
              <a:gd name="connsiteY2" fmla="*/ 1318040 h 5143500"/>
              <a:gd name="connsiteX3" fmla="*/ 3636847 w 3692863"/>
              <a:gd name="connsiteY3" fmla="*/ 2096830 h 5143500"/>
              <a:gd name="connsiteX4" fmla="*/ 3031891 w 3692863"/>
              <a:gd name="connsiteY4" fmla="*/ 4217886 h 5143500"/>
              <a:gd name="connsiteX5" fmla="*/ 2462412 w 3692863"/>
              <a:gd name="connsiteY5" fmla="*/ 4719988 h 5143500"/>
              <a:gd name="connsiteX6" fmla="*/ 752359 w 3692863"/>
              <a:gd name="connsiteY6" fmla="*/ 5143500 h 5143500"/>
              <a:gd name="connsiteX7" fmla="*/ 0 w 3692863"/>
              <a:gd name="connsiteY7" fmla="*/ 3447865 h 5143500"/>
              <a:gd name="connsiteX8" fmla="*/ 327259 w 3692863"/>
              <a:gd name="connsiteY8" fmla="*/ 425100 h 5143500"/>
              <a:gd name="connsiteX0" fmla="*/ 327259 w 3697188"/>
              <a:gd name="connsiteY0" fmla="*/ 425100 h 5143500"/>
              <a:gd name="connsiteX1" fmla="*/ 2244274 w 3697188"/>
              <a:gd name="connsiteY1" fmla="*/ 0 h 5143500"/>
              <a:gd name="connsiteX2" fmla="*/ 3483312 w 3697188"/>
              <a:gd name="connsiteY2" fmla="*/ 1325414 h 5143500"/>
              <a:gd name="connsiteX3" fmla="*/ 3636847 w 3697188"/>
              <a:gd name="connsiteY3" fmla="*/ 2096830 h 5143500"/>
              <a:gd name="connsiteX4" fmla="*/ 3031891 w 3697188"/>
              <a:gd name="connsiteY4" fmla="*/ 4217886 h 5143500"/>
              <a:gd name="connsiteX5" fmla="*/ 2462412 w 3697188"/>
              <a:gd name="connsiteY5" fmla="*/ 4719988 h 5143500"/>
              <a:gd name="connsiteX6" fmla="*/ 752359 w 3697188"/>
              <a:gd name="connsiteY6" fmla="*/ 5143500 h 5143500"/>
              <a:gd name="connsiteX7" fmla="*/ 0 w 3697188"/>
              <a:gd name="connsiteY7" fmla="*/ 3447865 h 5143500"/>
              <a:gd name="connsiteX8" fmla="*/ 327259 w 3697188"/>
              <a:gd name="connsiteY8" fmla="*/ 425100 h 5143500"/>
              <a:gd name="connsiteX0" fmla="*/ 327259 w 3687052"/>
              <a:gd name="connsiteY0" fmla="*/ 425100 h 5143500"/>
              <a:gd name="connsiteX1" fmla="*/ 2244274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63749 w 3423542"/>
              <a:gd name="connsiteY0" fmla="*/ 425100 h 5150874"/>
              <a:gd name="connsiteX1" fmla="*/ 1947580 w 3423542"/>
              <a:gd name="connsiteY1" fmla="*/ 0 h 5150874"/>
              <a:gd name="connsiteX2" fmla="*/ 3219802 w 3423542"/>
              <a:gd name="connsiteY2" fmla="*/ 1325414 h 5150874"/>
              <a:gd name="connsiteX3" fmla="*/ 3373337 w 3423542"/>
              <a:gd name="connsiteY3" fmla="*/ 2096830 h 5150874"/>
              <a:gd name="connsiteX4" fmla="*/ 2749946 w 3423542"/>
              <a:gd name="connsiteY4" fmla="*/ 4225261 h 5150874"/>
              <a:gd name="connsiteX5" fmla="*/ 2198902 w 3423542"/>
              <a:gd name="connsiteY5" fmla="*/ 4719988 h 5150874"/>
              <a:gd name="connsiteX6" fmla="*/ 433542 w 3423542"/>
              <a:gd name="connsiteY6" fmla="*/ 5150874 h 5150874"/>
              <a:gd name="connsiteX7" fmla="*/ 60954 w 3423542"/>
              <a:gd name="connsiteY7" fmla="*/ 5143930 h 5150874"/>
              <a:gd name="connsiteX8" fmla="*/ 63749 w 3423542"/>
              <a:gd name="connsiteY8" fmla="*/ 425100 h 5150874"/>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2795 w 3362588"/>
              <a:gd name="connsiteY0" fmla="*/ 425100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2795 w 3362588"/>
              <a:gd name="connsiteY8" fmla="*/ 425100 h 5147187"/>
              <a:gd name="connsiteX0" fmla="*/ 2795 w 3362588"/>
              <a:gd name="connsiteY0" fmla="*/ 0 h 5160852"/>
              <a:gd name="connsiteX1" fmla="*/ 1886626 w 3362588"/>
              <a:gd name="connsiteY1" fmla="*/ 13665 h 5160852"/>
              <a:gd name="connsiteX2" fmla="*/ 3158848 w 3362588"/>
              <a:gd name="connsiteY2" fmla="*/ 1339079 h 5160852"/>
              <a:gd name="connsiteX3" fmla="*/ 3312383 w 3362588"/>
              <a:gd name="connsiteY3" fmla="*/ 2110495 h 5160852"/>
              <a:gd name="connsiteX4" fmla="*/ 2688992 w 3362588"/>
              <a:gd name="connsiteY4" fmla="*/ 4238926 h 5160852"/>
              <a:gd name="connsiteX5" fmla="*/ 2137948 w 3362588"/>
              <a:gd name="connsiteY5" fmla="*/ 4733653 h 5160852"/>
              <a:gd name="connsiteX6" fmla="*/ 379962 w 3362588"/>
              <a:gd name="connsiteY6" fmla="*/ 5160852 h 5160852"/>
              <a:gd name="connsiteX7" fmla="*/ 0 w 3362588"/>
              <a:gd name="connsiteY7" fmla="*/ 5157595 h 5160852"/>
              <a:gd name="connsiteX8" fmla="*/ 2795 w 3362588"/>
              <a:gd name="connsiteY8" fmla="*/ 0 h 5160852"/>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6482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6482 w 3362588"/>
              <a:gd name="connsiteY8" fmla="*/ 0 h 5149790"/>
              <a:gd name="connsiteX0" fmla="*/ 6482 w 3362588"/>
              <a:gd name="connsiteY0" fmla="*/ 572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6482 w 3362588"/>
              <a:gd name="connsiteY8" fmla="*/ 572 h 5147187"/>
              <a:gd name="connsiteX0" fmla="*/ 132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132 w 3362588"/>
              <a:gd name="connsiteY8" fmla="*/ 3747 h 5147187"/>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3307 w 3362588"/>
              <a:gd name="connsiteY8" fmla="*/ 3747 h 5147187"/>
              <a:gd name="connsiteX0" fmla="*/ 3307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3307 w 3362588"/>
              <a:gd name="connsiteY8" fmla="*/ 0 h 514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2588" h="5149790">
                <a:moveTo>
                  <a:pt x="3307" y="0"/>
                </a:moveTo>
                <a:cubicBezTo>
                  <a:pt x="6994" y="4885"/>
                  <a:pt x="1651850" y="2603"/>
                  <a:pt x="1886626" y="2603"/>
                </a:cubicBezTo>
                <a:lnTo>
                  <a:pt x="3158848" y="1328017"/>
                </a:lnTo>
                <a:cubicBezTo>
                  <a:pt x="3415745" y="1619297"/>
                  <a:pt x="3382438" y="1827787"/>
                  <a:pt x="3312383" y="2099433"/>
                </a:cubicBezTo>
                <a:cubicBezTo>
                  <a:pt x="3139128" y="2654634"/>
                  <a:pt x="2781364" y="3951175"/>
                  <a:pt x="2688992" y="4227864"/>
                </a:cubicBezTo>
                <a:cubicBezTo>
                  <a:pt x="2582066" y="4525320"/>
                  <a:pt x="2475962" y="4619353"/>
                  <a:pt x="2137948" y="4722591"/>
                </a:cubicBezTo>
                <a:lnTo>
                  <a:pt x="379962" y="5149790"/>
                </a:lnTo>
                <a:cubicBezTo>
                  <a:pt x="384848" y="5146103"/>
                  <a:pt x="7374" y="5149022"/>
                  <a:pt x="0" y="5146533"/>
                </a:cubicBezTo>
                <a:cubicBezTo>
                  <a:pt x="3390" y="5151668"/>
                  <a:pt x="3605" y="9614"/>
                  <a:pt x="3307" y="0"/>
                </a:cubicBezTo>
                <a:close/>
              </a:path>
            </a:pathLst>
          </a:custGeom>
        </p:spPr>
        <p:txBody>
          <a:bodyPr anchor="ctr"/>
          <a:lstStyle>
            <a:lvl1pPr algn="ctr">
              <a:defRPr/>
            </a:lvl1pPr>
          </a:lstStyle>
          <a:p>
            <a:endParaRPr lang="en-US"/>
          </a:p>
        </p:txBody>
      </p:sp>
      <p:sp>
        <p:nvSpPr>
          <p:cNvPr id="5" name="Text Placeholder 2"/>
          <p:cNvSpPr>
            <a:spLocks noGrp="1"/>
          </p:cNvSpPr>
          <p:nvPr>
            <p:ph type="body" sz="quarter" idx="11"/>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10" name="Straight Connector 9"/>
          <p:cNvCxnSpPr/>
          <p:nvPr userDrawn="1"/>
        </p:nvCxnSpPr>
        <p:spPr>
          <a:xfrm>
            <a:off x="3594537" y="4314112"/>
            <a:ext cx="3806927"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1" name="Content Placeholder 2"/>
          <p:cNvSpPr>
            <a:spLocks noGrp="1"/>
          </p:cNvSpPr>
          <p:nvPr>
            <p:ph sz="half" idx="12" hasCustomPrompt="1"/>
          </p:nvPr>
        </p:nvSpPr>
        <p:spPr>
          <a:xfrm>
            <a:off x="3594537"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GSMA Image and Content 01 slide">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smtClean="0"/>
              <a:t>Click icon to add picture</a:t>
            </a:r>
            <a:endParaRPr lang="en-JM"/>
          </a:p>
        </p:txBody>
      </p:sp>
      <p:sp>
        <p:nvSpPr>
          <p:cNvPr id="8" name="Text Placeholder 5"/>
          <p:cNvSpPr>
            <a:spLocks noGrp="1"/>
          </p:cNvSpPr>
          <p:nvPr>
            <p:ph type="body" sz="quarter" idx="13"/>
          </p:nvPr>
        </p:nvSpPr>
        <p:spPr>
          <a:xfrm>
            <a:off x="427038"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smtClean="0"/>
              <a:t>Click to edit Master text styles</a:t>
            </a:r>
          </a:p>
        </p:txBody>
      </p:sp>
      <p:sp>
        <p:nvSpPr>
          <p:cNvPr id="17" name="Picture Placeholder 24"/>
          <p:cNvSpPr>
            <a:spLocks noGrp="1"/>
          </p:cNvSpPr>
          <p:nvPr>
            <p:ph type="pic" sz="quarter" idx="19"/>
          </p:nvPr>
        </p:nvSpPr>
        <p:spPr>
          <a:xfrm>
            <a:off x="3039979" y="0"/>
            <a:ext cx="3072063" cy="1563637"/>
          </a:xfrm>
          <a:prstGeom prst="rect">
            <a:avLst/>
          </a:prstGeom>
        </p:spPr>
        <p:txBody>
          <a:bodyPr>
            <a:normAutofit/>
          </a:bodyPr>
          <a:lstStyle>
            <a:lvl1pPr marL="0" indent="0">
              <a:buFontTx/>
              <a:buNone/>
              <a:defRPr sz="1600">
                <a:solidFill>
                  <a:schemeClr val="bg1">
                    <a:lumMod val="65000"/>
                  </a:schemeClr>
                </a:solidFill>
              </a:defRPr>
            </a:lvl1pPr>
          </a:lstStyle>
          <a:p>
            <a:r>
              <a:rPr lang="en-US" smtClean="0"/>
              <a:t>Click icon to add picture</a:t>
            </a:r>
            <a:endParaRPr lang="en-JM"/>
          </a:p>
        </p:txBody>
      </p:sp>
      <p:sp>
        <p:nvSpPr>
          <p:cNvPr id="18" name="Picture Placeholder 24"/>
          <p:cNvSpPr>
            <a:spLocks noGrp="1"/>
          </p:cNvSpPr>
          <p:nvPr>
            <p:ph type="pic" sz="quarter" idx="20"/>
          </p:nvPr>
        </p:nvSpPr>
        <p:spPr>
          <a:xfrm>
            <a:off x="6107868" y="0"/>
            <a:ext cx="3039979" cy="1563637"/>
          </a:xfrm>
          <a:prstGeom prst="rect">
            <a:avLst/>
          </a:prstGeom>
        </p:spPr>
        <p:txBody>
          <a:bodyPr>
            <a:normAutofit/>
          </a:bodyPr>
          <a:lstStyle>
            <a:lvl1pPr marL="0" indent="0">
              <a:buFontTx/>
              <a:buNone/>
              <a:defRPr sz="1600">
                <a:solidFill>
                  <a:schemeClr val="bg1">
                    <a:lumMod val="65000"/>
                  </a:schemeClr>
                </a:solidFill>
              </a:defRPr>
            </a:lvl1pPr>
          </a:lstStyle>
          <a:p>
            <a:r>
              <a:rPr lang="en-US" smtClean="0"/>
              <a:t>Click icon to add picture</a:t>
            </a:r>
            <a:endParaRPr lang="en-JM"/>
          </a:p>
        </p:txBody>
      </p:sp>
      <p:sp>
        <p:nvSpPr>
          <p:cNvPr id="2" name="Slide Number Placeholder 1"/>
          <p:cNvSpPr>
            <a:spLocks noGrp="1"/>
          </p:cNvSpPr>
          <p:nvPr>
            <p:ph type="sldNum" sz="quarter" idx="21"/>
          </p:nvPr>
        </p:nvSpPr>
        <p:spPr/>
        <p:txBody>
          <a:bodyPr/>
          <a:lstStyle/>
          <a:p>
            <a:fld id="{E52D2AFC-71C4-4511-B128-4ECEE52D3027}" type="slidenum">
              <a:rPr lang="en-ZA" smtClean="0"/>
              <a:pPr/>
              <a:t>‹#›</a:t>
            </a:fld>
            <a:endParaRPr lang="en-ZA" dirty="0"/>
          </a:p>
        </p:txBody>
      </p:sp>
      <p:sp>
        <p:nvSpPr>
          <p:cNvPr id="11" name="Text Placeholder 5"/>
          <p:cNvSpPr>
            <a:spLocks noGrp="1"/>
          </p:cNvSpPr>
          <p:nvPr>
            <p:ph type="body" sz="quarter" idx="22"/>
          </p:nvPr>
        </p:nvSpPr>
        <p:spPr>
          <a:xfrm>
            <a:off x="3419872" y="1851670"/>
            <a:ext cx="2322854"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smtClean="0"/>
              <a:t>Click to edit Master text styles</a:t>
            </a:r>
          </a:p>
        </p:txBody>
      </p:sp>
      <p:sp>
        <p:nvSpPr>
          <p:cNvPr id="12" name="Text Placeholder 5"/>
          <p:cNvSpPr>
            <a:spLocks noGrp="1"/>
          </p:cNvSpPr>
          <p:nvPr>
            <p:ph type="body" sz="quarter" idx="23"/>
          </p:nvPr>
        </p:nvSpPr>
        <p:spPr>
          <a:xfrm>
            <a:off x="6444208" y="1851670"/>
            <a:ext cx="2261642" cy="2736304"/>
          </a:xfrm>
          <a:prstGeom prst="rect">
            <a:avLst/>
          </a:prstGeom>
        </p:spPr>
        <p:txBody>
          <a:bodyPr>
            <a:normAutofit/>
          </a:bodyPr>
          <a:lstStyle>
            <a:lvl1pPr marL="0" indent="0">
              <a:lnSpc>
                <a:spcPct val="120000"/>
              </a:lnSpc>
              <a:buFontTx/>
              <a:buNone/>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smtClean="0"/>
              <a:t>Click to edit Master text styles</a:t>
            </a:r>
          </a:p>
        </p:txBody>
      </p:sp>
    </p:spTree>
    <p:extLst>
      <p:ext uri="{BB962C8B-B14F-4D97-AF65-F5344CB8AC3E}">
        <p14:creationId xmlns:p14="http://schemas.microsoft.com/office/powerpoint/2010/main" val="413179125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SMA Image and Content 02 slide">
    <p:spTree>
      <p:nvGrpSpPr>
        <p:cNvPr id="1" name=""/>
        <p:cNvGrpSpPr/>
        <p:nvPr/>
      </p:nvGrpSpPr>
      <p:grpSpPr>
        <a:xfrm>
          <a:off x="0" y="0"/>
          <a:ext cx="0" cy="0"/>
          <a:chOff x="0" y="0"/>
          <a:chExt cx="0" cy="0"/>
        </a:xfrm>
      </p:grpSpPr>
      <p:sp>
        <p:nvSpPr>
          <p:cNvPr id="3" name="Picture Placeholder 24"/>
          <p:cNvSpPr>
            <a:spLocks noGrp="1"/>
          </p:cNvSpPr>
          <p:nvPr>
            <p:ph type="pic" sz="quarter" idx="14"/>
          </p:nvPr>
        </p:nvSpPr>
        <p:spPr>
          <a:xfrm>
            <a:off x="0" y="0"/>
            <a:ext cx="3505200" cy="5143499"/>
          </a:xfrm>
          <a:prstGeom prst="rect">
            <a:avLst/>
          </a:prstGeom>
        </p:spPr>
        <p:txBody>
          <a:bodyPr>
            <a:normAutofit/>
          </a:bodyPr>
          <a:lstStyle>
            <a:lvl1pPr marL="0" indent="0">
              <a:buFontTx/>
              <a:buNone/>
              <a:tabLst>
                <a:tab pos="2959100" algn="l"/>
              </a:tabLst>
              <a:defRPr sz="1600">
                <a:solidFill>
                  <a:schemeClr val="bg1">
                    <a:lumMod val="65000"/>
                  </a:schemeClr>
                </a:solidFill>
              </a:defRPr>
            </a:lvl1pPr>
          </a:lstStyle>
          <a:p>
            <a:r>
              <a:rPr lang="en-US" smtClean="0"/>
              <a:t>Click icon to add picture</a:t>
            </a:r>
            <a:endParaRPr lang="en-JM" dirty="0"/>
          </a:p>
        </p:txBody>
      </p:sp>
      <p:sp>
        <p:nvSpPr>
          <p:cNvPr id="4" name="Text Placeholder 5"/>
          <p:cNvSpPr>
            <a:spLocks noGrp="1"/>
          </p:cNvSpPr>
          <p:nvPr>
            <p:ph type="body" sz="quarter" idx="13"/>
          </p:nvPr>
        </p:nvSpPr>
        <p:spPr>
          <a:xfrm>
            <a:off x="4067944" y="843558"/>
            <a:ext cx="4618855" cy="3048000"/>
          </a:xfrm>
          <a:prstGeom prst="rect">
            <a:avLst/>
          </a:prstGeom>
        </p:spPr>
        <p:txBody>
          <a:bodyPr>
            <a:normAutofit/>
          </a:bodyPr>
          <a:lstStyle>
            <a:lvl1pPr marL="342900" indent="-342900">
              <a:lnSpc>
                <a:spcPct val="120000"/>
              </a:lnSpc>
              <a:buClr>
                <a:srgbClr val="E30613"/>
              </a:buClr>
              <a:buSzPct val="90000"/>
              <a:buFont typeface="Wingdings" charset="2"/>
              <a:buChar char="§"/>
              <a:defRPr sz="1400" b="0" i="0">
                <a:solidFill>
                  <a:schemeClr val="tx2"/>
                </a:solidFill>
                <a:latin typeface="Arial" panose="020B0604020202020204" pitchFamily="34" charset="0"/>
                <a:cs typeface="Arial" panose="020B0604020202020204" pitchFamily="34" charset="0"/>
              </a:defRPr>
            </a:lvl1pPr>
            <a:lvl2pPr marL="742950" indent="-285750">
              <a:buFont typeface="Sketch Rockwell" pitchFamily="2" charset="0"/>
              <a:buChar char="o"/>
              <a:defRPr>
                <a:solidFill>
                  <a:schemeClr val="tx1">
                    <a:lumMod val="65000"/>
                    <a:lumOff val="35000"/>
                  </a:schemeClr>
                </a:solidFill>
                <a:latin typeface="Futura LT Book" pitchFamily="2" charset="0"/>
              </a:defRPr>
            </a:lvl2pPr>
            <a:lvl3pPr marL="1143000" indent="-228600">
              <a:buFont typeface="Sketch Rockwell" pitchFamily="2" charset="0"/>
              <a:buChar char="o"/>
              <a:defRPr>
                <a:solidFill>
                  <a:schemeClr val="tx1">
                    <a:lumMod val="65000"/>
                    <a:lumOff val="35000"/>
                  </a:schemeClr>
                </a:solidFill>
                <a:latin typeface="Futura LT Book" pitchFamily="2" charset="0"/>
              </a:defRPr>
            </a:lvl3pPr>
            <a:lvl4pPr marL="1600200" indent="-228600">
              <a:buFont typeface="Sketch Rockwell" pitchFamily="2" charset="0"/>
              <a:buChar char="o"/>
              <a:defRPr>
                <a:solidFill>
                  <a:schemeClr val="tx1">
                    <a:lumMod val="65000"/>
                    <a:lumOff val="35000"/>
                  </a:schemeClr>
                </a:solidFill>
                <a:latin typeface="Futura LT Book" pitchFamily="2" charset="0"/>
              </a:defRPr>
            </a:lvl4pPr>
            <a:lvl5pPr marL="2057400" indent="-228600">
              <a:buFont typeface="Sketch Rockwell" pitchFamily="2" charset="0"/>
              <a:buChar char="o"/>
              <a:defRPr>
                <a:solidFill>
                  <a:schemeClr val="tx1">
                    <a:lumMod val="65000"/>
                    <a:lumOff val="35000"/>
                  </a:schemeClr>
                </a:solidFill>
                <a:latin typeface="Futura LT Book" pitchFamily="2" charset="0"/>
              </a:defRPr>
            </a:lvl5pPr>
          </a:lstStyle>
          <a:p>
            <a:pPr lvl="0"/>
            <a:r>
              <a:rPr lang="en-US" dirty="0" smtClean="0"/>
              <a:t>Click to edit Master text styles</a:t>
            </a:r>
          </a:p>
        </p:txBody>
      </p:sp>
      <p:sp>
        <p:nvSpPr>
          <p:cNvPr id="2" name="Rectangle 1"/>
          <p:cNvSpPr/>
          <p:nvPr userDrawn="1"/>
        </p:nvSpPr>
        <p:spPr>
          <a:xfrm>
            <a:off x="395536" y="4659982"/>
            <a:ext cx="8352928"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 name="Rectangle 4"/>
          <p:cNvSpPr/>
          <p:nvPr userDrawn="1"/>
        </p:nvSpPr>
        <p:spPr>
          <a:xfrm>
            <a:off x="4067174" y="4711700"/>
            <a:ext cx="1512887"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 name="Rectangle 5"/>
          <p:cNvSpPr/>
          <p:nvPr userDrawn="1"/>
        </p:nvSpPr>
        <p:spPr>
          <a:xfrm>
            <a:off x="5580062" y="4711700"/>
            <a:ext cx="1595437"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Rectangle 6"/>
          <p:cNvSpPr/>
          <p:nvPr userDrawn="1"/>
        </p:nvSpPr>
        <p:spPr>
          <a:xfrm>
            <a:off x="7164387" y="4711700"/>
            <a:ext cx="1600423"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377924736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SMA Image 01 slide">
    <p:spTree>
      <p:nvGrpSpPr>
        <p:cNvPr id="1" name=""/>
        <p:cNvGrpSpPr/>
        <p:nvPr/>
      </p:nvGrpSpPr>
      <p:grpSpPr>
        <a:xfrm>
          <a:off x="0" y="0"/>
          <a:ext cx="0" cy="0"/>
          <a:chOff x="0" y="0"/>
          <a:chExt cx="0" cy="0"/>
        </a:xfrm>
      </p:grpSpPr>
      <p:sp>
        <p:nvSpPr>
          <p:cNvPr id="6" name="Picture Placeholder 16"/>
          <p:cNvSpPr>
            <a:spLocks noGrp="1"/>
          </p:cNvSpPr>
          <p:nvPr>
            <p:ph type="pic" sz="quarter" idx="59"/>
          </p:nvPr>
        </p:nvSpPr>
        <p:spPr>
          <a:xfrm>
            <a:off x="0" y="1253250"/>
            <a:ext cx="9144000" cy="3890249"/>
          </a:xfrm>
          <a:prstGeom prst="rect">
            <a:avLst/>
          </a:prstGeom>
        </p:spPr>
        <p:txBody>
          <a:bodyPr/>
          <a:lstStyle/>
          <a:p>
            <a:r>
              <a:rPr lang="en-US" smtClean="0"/>
              <a:t>Click icon to add picture</a:t>
            </a:r>
            <a:endParaRPr lang="en-JM"/>
          </a:p>
        </p:txBody>
      </p:sp>
      <p:sp>
        <p:nvSpPr>
          <p:cNvPr id="2" name="Slide Number Placeholder 1"/>
          <p:cNvSpPr>
            <a:spLocks noGrp="1"/>
          </p:cNvSpPr>
          <p:nvPr>
            <p:ph type="sldNum" sz="quarter" idx="60"/>
          </p:nvPr>
        </p:nvSpPr>
        <p:spPr/>
        <p:txBody>
          <a:bodyPr/>
          <a:lstStyle/>
          <a:p>
            <a:fld id="{E52D2AFC-71C4-4511-B128-4ECEE52D3027}" type="slidenum">
              <a:rPr lang="en-ZA" smtClean="0"/>
              <a:pPr/>
              <a:t>‹#›</a:t>
            </a:fld>
            <a:endParaRPr lang="en-ZA" dirty="0"/>
          </a:p>
        </p:txBody>
      </p:sp>
      <p:sp>
        <p:nvSpPr>
          <p:cNvPr id="7" name="Title Placeholder 1"/>
          <p:cNvSpPr>
            <a:spLocks noGrp="1"/>
          </p:cNvSpPr>
          <p:nvPr>
            <p:ph type="title"/>
          </p:nvPr>
        </p:nvSpPr>
        <p:spPr>
          <a:xfrm>
            <a:off x="1349152" y="267494"/>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smtClean="0"/>
              <a:t>Click to edit Master title style</a:t>
            </a:r>
            <a:endParaRPr lang="en-ZA" dirty="0"/>
          </a:p>
        </p:txBody>
      </p:sp>
    </p:spTree>
    <p:extLst>
      <p:ext uri="{BB962C8B-B14F-4D97-AF65-F5344CB8AC3E}">
        <p14:creationId xmlns:p14="http://schemas.microsoft.com/office/powerpoint/2010/main" val="3351666234"/>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GSMA Image 02 slide">
    <p:spTree>
      <p:nvGrpSpPr>
        <p:cNvPr id="1" name=""/>
        <p:cNvGrpSpPr/>
        <p:nvPr/>
      </p:nvGrpSpPr>
      <p:grpSpPr>
        <a:xfrm>
          <a:off x="0" y="0"/>
          <a:ext cx="0" cy="0"/>
          <a:chOff x="0" y="0"/>
          <a:chExt cx="0" cy="0"/>
        </a:xfrm>
      </p:grpSpPr>
      <p:sp>
        <p:nvSpPr>
          <p:cNvPr id="9" name="Picture Placeholder 16"/>
          <p:cNvSpPr>
            <a:spLocks noGrp="1"/>
          </p:cNvSpPr>
          <p:nvPr>
            <p:ph type="pic" sz="quarter" idx="59"/>
          </p:nvPr>
        </p:nvSpPr>
        <p:spPr>
          <a:xfrm>
            <a:off x="0" y="1347614"/>
            <a:ext cx="4644008" cy="3795886"/>
          </a:xfrm>
          <a:prstGeom prst="rect">
            <a:avLst/>
          </a:prstGeom>
        </p:spPr>
        <p:txBody>
          <a:bodyPr/>
          <a:lstStyle/>
          <a:p>
            <a:r>
              <a:rPr lang="en-US" smtClean="0"/>
              <a:t>Click icon to add picture</a:t>
            </a:r>
            <a:endParaRPr lang="en-JM" dirty="0"/>
          </a:p>
        </p:txBody>
      </p:sp>
      <p:sp>
        <p:nvSpPr>
          <p:cNvPr id="10" name="Picture Placeholder 16"/>
          <p:cNvSpPr>
            <a:spLocks noGrp="1"/>
          </p:cNvSpPr>
          <p:nvPr>
            <p:ph type="pic" sz="quarter" idx="60"/>
          </p:nvPr>
        </p:nvSpPr>
        <p:spPr>
          <a:xfrm>
            <a:off x="4572000" y="1347614"/>
            <a:ext cx="4644008" cy="3795886"/>
          </a:xfrm>
          <a:prstGeom prst="rect">
            <a:avLst/>
          </a:prstGeom>
        </p:spPr>
        <p:txBody>
          <a:bodyPr/>
          <a:lstStyle/>
          <a:p>
            <a:r>
              <a:rPr lang="en-US" smtClean="0"/>
              <a:t>Click icon to add picture</a:t>
            </a:r>
            <a:endParaRPr lang="en-JM" dirty="0"/>
          </a:p>
        </p:txBody>
      </p:sp>
      <p:sp>
        <p:nvSpPr>
          <p:cNvPr id="2" name="Slide Number Placeholder 1"/>
          <p:cNvSpPr>
            <a:spLocks noGrp="1"/>
          </p:cNvSpPr>
          <p:nvPr>
            <p:ph type="sldNum" sz="quarter" idx="61"/>
          </p:nvPr>
        </p:nvSpPr>
        <p:spPr/>
        <p:txBody>
          <a:bodyPr/>
          <a:lstStyle/>
          <a:p>
            <a:fld id="{E52D2AFC-71C4-4511-B128-4ECEE52D3027}" type="slidenum">
              <a:rPr lang="en-ZA" smtClean="0"/>
              <a:pPr/>
              <a:t>‹#›</a:t>
            </a:fld>
            <a:endParaRPr lang="en-ZA" dirty="0"/>
          </a:p>
        </p:txBody>
      </p:sp>
      <p:sp>
        <p:nvSpPr>
          <p:cNvPr id="7"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smtClean="0"/>
              <a:t>Click to edit Master title style</a:t>
            </a:r>
            <a:endParaRPr lang="en-ZA" dirty="0"/>
          </a:p>
        </p:txBody>
      </p:sp>
    </p:spTree>
    <p:extLst>
      <p:ext uri="{BB962C8B-B14F-4D97-AF65-F5344CB8AC3E}">
        <p14:creationId xmlns:p14="http://schemas.microsoft.com/office/powerpoint/2010/main" val="322551529"/>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GSMA Image 03 slide">
    <p:spTree>
      <p:nvGrpSpPr>
        <p:cNvPr id="1" name=""/>
        <p:cNvGrpSpPr/>
        <p:nvPr/>
      </p:nvGrpSpPr>
      <p:grpSpPr>
        <a:xfrm>
          <a:off x="0" y="0"/>
          <a:ext cx="0" cy="0"/>
          <a:chOff x="0" y="0"/>
          <a:chExt cx="0" cy="0"/>
        </a:xfrm>
      </p:grpSpPr>
      <p:sp>
        <p:nvSpPr>
          <p:cNvPr id="3" name="Picture Placeholder 16"/>
          <p:cNvSpPr>
            <a:spLocks noGrp="1"/>
          </p:cNvSpPr>
          <p:nvPr>
            <p:ph type="pic" sz="quarter" idx="59"/>
          </p:nvPr>
        </p:nvSpPr>
        <p:spPr>
          <a:xfrm>
            <a:off x="155631" y="123478"/>
            <a:ext cx="3330575" cy="2088232"/>
          </a:xfrm>
          <a:prstGeom prst="rect">
            <a:avLst/>
          </a:prstGeom>
        </p:spPr>
        <p:txBody>
          <a:bodyPr/>
          <a:lstStyle/>
          <a:p>
            <a:r>
              <a:rPr lang="en-US" smtClean="0"/>
              <a:t>Click icon to add picture</a:t>
            </a:r>
            <a:endParaRPr lang="en-JM" dirty="0"/>
          </a:p>
        </p:txBody>
      </p:sp>
      <p:sp>
        <p:nvSpPr>
          <p:cNvPr id="4" name="Picture Placeholder 16"/>
          <p:cNvSpPr>
            <a:spLocks noGrp="1"/>
          </p:cNvSpPr>
          <p:nvPr>
            <p:ph type="pic" sz="quarter" idx="60"/>
          </p:nvPr>
        </p:nvSpPr>
        <p:spPr>
          <a:xfrm>
            <a:off x="155631" y="2355726"/>
            <a:ext cx="3330575" cy="2232248"/>
          </a:xfrm>
          <a:prstGeom prst="rect">
            <a:avLst/>
          </a:prstGeom>
        </p:spPr>
        <p:txBody>
          <a:bodyPr/>
          <a:lstStyle/>
          <a:p>
            <a:r>
              <a:rPr lang="en-US" smtClean="0"/>
              <a:t>Click icon to add picture</a:t>
            </a:r>
            <a:endParaRPr lang="en-JM" dirty="0"/>
          </a:p>
        </p:txBody>
      </p:sp>
      <p:sp>
        <p:nvSpPr>
          <p:cNvPr id="5" name="Picture Placeholder 16"/>
          <p:cNvSpPr>
            <a:spLocks noGrp="1"/>
          </p:cNvSpPr>
          <p:nvPr>
            <p:ph type="pic" sz="quarter" idx="61"/>
          </p:nvPr>
        </p:nvSpPr>
        <p:spPr>
          <a:xfrm>
            <a:off x="3633538" y="123478"/>
            <a:ext cx="2714782" cy="4464496"/>
          </a:xfrm>
          <a:prstGeom prst="rect">
            <a:avLst/>
          </a:prstGeom>
        </p:spPr>
        <p:txBody>
          <a:bodyPr/>
          <a:lstStyle/>
          <a:p>
            <a:r>
              <a:rPr lang="en-US" smtClean="0"/>
              <a:t>Click icon to add picture</a:t>
            </a:r>
            <a:endParaRPr lang="en-JM" dirty="0"/>
          </a:p>
        </p:txBody>
      </p:sp>
      <p:sp>
        <p:nvSpPr>
          <p:cNvPr id="6" name="Picture Placeholder 16"/>
          <p:cNvSpPr>
            <a:spLocks noGrp="1"/>
          </p:cNvSpPr>
          <p:nvPr>
            <p:ph type="pic" sz="quarter" idx="62"/>
          </p:nvPr>
        </p:nvSpPr>
        <p:spPr>
          <a:xfrm>
            <a:off x="6492335" y="123478"/>
            <a:ext cx="2538487" cy="1368152"/>
          </a:xfrm>
          <a:prstGeom prst="rect">
            <a:avLst/>
          </a:prstGeom>
        </p:spPr>
        <p:txBody>
          <a:bodyPr/>
          <a:lstStyle/>
          <a:p>
            <a:r>
              <a:rPr lang="en-US" smtClean="0"/>
              <a:t>Click icon to add picture</a:t>
            </a:r>
            <a:endParaRPr lang="en-JM" dirty="0"/>
          </a:p>
        </p:txBody>
      </p:sp>
      <p:sp>
        <p:nvSpPr>
          <p:cNvPr id="7" name="Picture Placeholder 16"/>
          <p:cNvSpPr>
            <a:spLocks noGrp="1"/>
          </p:cNvSpPr>
          <p:nvPr>
            <p:ph type="pic" sz="quarter" idx="63"/>
          </p:nvPr>
        </p:nvSpPr>
        <p:spPr>
          <a:xfrm>
            <a:off x="6492335" y="1635646"/>
            <a:ext cx="2538487" cy="1440160"/>
          </a:xfrm>
          <a:prstGeom prst="rect">
            <a:avLst/>
          </a:prstGeom>
        </p:spPr>
        <p:txBody>
          <a:bodyPr/>
          <a:lstStyle/>
          <a:p>
            <a:r>
              <a:rPr lang="en-US" smtClean="0"/>
              <a:t>Click icon to add picture</a:t>
            </a:r>
            <a:endParaRPr lang="en-JM" dirty="0"/>
          </a:p>
        </p:txBody>
      </p:sp>
      <p:sp>
        <p:nvSpPr>
          <p:cNvPr id="8" name="Picture Placeholder 16"/>
          <p:cNvSpPr>
            <a:spLocks noGrp="1"/>
          </p:cNvSpPr>
          <p:nvPr>
            <p:ph type="pic" sz="quarter" idx="64"/>
          </p:nvPr>
        </p:nvSpPr>
        <p:spPr>
          <a:xfrm>
            <a:off x="6492335" y="3219822"/>
            <a:ext cx="2538487" cy="1368152"/>
          </a:xfrm>
          <a:prstGeom prst="rect">
            <a:avLst/>
          </a:prstGeom>
        </p:spPr>
        <p:txBody>
          <a:bodyPr/>
          <a:lstStyle/>
          <a:p>
            <a:r>
              <a:rPr lang="en-US" smtClean="0"/>
              <a:t>Click icon to add picture</a:t>
            </a:r>
            <a:endParaRPr lang="en-JM" dirty="0"/>
          </a:p>
        </p:txBody>
      </p:sp>
      <p:sp>
        <p:nvSpPr>
          <p:cNvPr id="2" name="Slide Number Placeholder 1"/>
          <p:cNvSpPr>
            <a:spLocks noGrp="1"/>
          </p:cNvSpPr>
          <p:nvPr>
            <p:ph type="sldNum" sz="quarter" idx="65"/>
          </p:nvPr>
        </p:nvSpPr>
        <p:spPr/>
        <p:txBody>
          <a:bodyPr/>
          <a:lstStyle/>
          <a:p>
            <a:fld id="{E52D2AFC-71C4-4511-B128-4ECEE52D3027}" type="slidenum">
              <a:rPr lang="en-ZA" smtClean="0"/>
              <a:pPr/>
              <a:t>‹#›</a:t>
            </a:fld>
            <a:endParaRPr lang="en-ZA" dirty="0"/>
          </a:p>
        </p:txBody>
      </p:sp>
    </p:spTree>
    <p:extLst>
      <p:ext uri="{BB962C8B-B14F-4D97-AF65-F5344CB8AC3E}">
        <p14:creationId xmlns:p14="http://schemas.microsoft.com/office/powerpoint/2010/main" val="1675190797"/>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Full Page RED 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9144000" cy="5143500"/>
          </a:xfrm>
          <a:prstGeom prst="rect">
            <a:avLst/>
          </a:prstGeom>
        </p:spPr>
        <p:txBody>
          <a:bodyPr vert="horz"/>
          <a:lstStyle/>
          <a:p>
            <a:endParaRPr lang="en-US"/>
          </a:p>
        </p:txBody>
      </p:sp>
      <p:sp>
        <p:nvSpPr>
          <p:cNvPr id="8" name="Title 1"/>
          <p:cNvSpPr>
            <a:spLocks noGrp="1"/>
          </p:cNvSpPr>
          <p:nvPr>
            <p:ph type="ctrTitle"/>
          </p:nvPr>
        </p:nvSpPr>
        <p:spPr>
          <a:xfrm>
            <a:off x="2392680" y="2210400"/>
            <a:ext cx="6243320" cy="636587"/>
          </a:xfrm>
          <a:prstGeom prst="rect">
            <a:avLst/>
          </a:prstGeom>
        </p:spPr>
        <p:txBody>
          <a:bodyPr/>
          <a:lstStyle>
            <a:lvl1pPr algn="l">
              <a:defRPr sz="3200">
                <a:solidFill>
                  <a:srgbClr val="FFFFFF"/>
                </a:solidFill>
              </a:defRPr>
            </a:lvl1pPr>
          </a:lstStyle>
          <a:p>
            <a:r>
              <a:rPr lang="en-GB" dirty="0" smtClean="0"/>
              <a:t>Click to edit Master title style</a:t>
            </a:r>
            <a:endParaRPr lang="en-US" dirty="0"/>
          </a:p>
        </p:txBody>
      </p:sp>
      <p:sp>
        <p:nvSpPr>
          <p:cNvPr id="9" name="Subtitle 2"/>
          <p:cNvSpPr>
            <a:spLocks noGrp="1"/>
          </p:cNvSpPr>
          <p:nvPr>
            <p:ph type="subTitle" idx="1"/>
          </p:nvPr>
        </p:nvSpPr>
        <p:spPr>
          <a:xfrm>
            <a:off x="2394000" y="2847600"/>
            <a:ext cx="6233160" cy="1314450"/>
          </a:xfrm>
          <a:prstGeom prst="rect">
            <a:avLst/>
          </a:prstGeom>
        </p:spPr>
        <p:txBody>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Tree>
    <p:extLst>
      <p:ext uri="{BB962C8B-B14F-4D97-AF65-F5344CB8AC3E}">
        <p14:creationId xmlns:p14="http://schemas.microsoft.com/office/powerpoint/2010/main" val="342698996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9736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487" name="think-cell Slide" r:id="rId4" imgW="423" imgH="424" progId="TCLayout.ActiveDocument.1">
                  <p:embed/>
                </p:oleObj>
              </mc:Choice>
              <mc:Fallback>
                <p:oleObj name="think-cell Slide" r:id="rId4" imgW="423"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half" idx="1"/>
          </p:nvPr>
        </p:nvSpPr>
        <p:spPr>
          <a:xfrm>
            <a:off x="457200" y="931641"/>
            <a:ext cx="4038600" cy="3393579"/>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648200" y="931641"/>
            <a:ext cx="4038600" cy="3393579"/>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8229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sp>
        <p:nvSpPr>
          <p:cNvPr id="5"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7" name="Straight Connector 6"/>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ext uri="{BB962C8B-B14F-4D97-AF65-F5344CB8AC3E}">
        <p14:creationId xmlns:p14="http://schemas.microsoft.com/office/powerpoint/2010/main" val="1074018084"/>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931641"/>
            <a:ext cx="4038600" cy="3276217"/>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8229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pic>
        <p:nvPicPr>
          <p:cNvPr id="5" name="Picture 4"/>
          <p:cNvPicPr>
            <a:picLocks noChangeAspect="1"/>
          </p:cNvPicPr>
          <p:nvPr userDrawn="1"/>
        </p:nvPicPr>
        <p:blipFill>
          <a:blip r:embed="rId2"/>
          <a:stretch>
            <a:fillRect/>
          </a:stretch>
        </p:blipFill>
        <p:spPr>
          <a:xfrm>
            <a:off x="4633587" y="931641"/>
            <a:ext cx="1490419" cy="1663602"/>
          </a:xfrm>
          <a:prstGeom prst="rect">
            <a:avLst/>
          </a:prstGeom>
        </p:spPr>
      </p:pic>
      <p:pic>
        <p:nvPicPr>
          <p:cNvPr id="7" name="Picture 6"/>
          <p:cNvPicPr>
            <a:picLocks noChangeAspect="1"/>
          </p:cNvPicPr>
          <p:nvPr userDrawn="1"/>
        </p:nvPicPr>
        <p:blipFill>
          <a:blip r:embed="rId3"/>
          <a:stretch>
            <a:fillRect/>
          </a:stretch>
        </p:blipFill>
        <p:spPr>
          <a:xfrm>
            <a:off x="6285515" y="931641"/>
            <a:ext cx="1490419" cy="1663602"/>
          </a:xfrm>
          <a:prstGeom prst="rect">
            <a:avLst/>
          </a:prstGeom>
        </p:spPr>
      </p:pic>
      <p:pic>
        <p:nvPicPr>
          <p:cNvPr id="10" name="Picture 9"/>
          <p:cNvPicPr>
            <a:picLocks noChangeAspect="1"/>
          </p:cNvPicPr>
          <p:nvPr userDrawn="1"/>
        </p:nvPicPr>
        <p:blipFill>
          <a:blip r:embed="rId3"/>
          <a:stretch>
            <a:fillRect/>
          </a:stretch>
        </p:blipFill>
        <p:spPr>
          <a:xfrm>
            <a:off x="5481116" y="2375686"/>
            <a:ext cx="1490419" cy="1663602"/>
          </a:xfrm>
          <a:prstGeom prst="rect">
            <a:avLst/>
          </a:prstGeom>
        </p:spPr>
      </p:pic>
      <p:pic>
        <p:nvPicPr>
          <p:cNvPr id="11" name="Picture 10"/>
          <p:cNvPicPr>
            <a:picLocks noChangeAspect="1"/>
          </p:cNvPicPr>
          <p:nvPr userDrawn="1"/>
        </p:nvPicPr>
        <p:blipFill>
          <a:blip r:embed="rId2"/>
          <a:stretch>
            <a:fillRect/>
          </a:stretch>
        </p:blipFill>
        <p:spPr>
          <a:xfrm>
            <a:off x="7117221" y="2369053"/>
            <a:ext cx="1490419" cy="1663602"/>
          </a:xfrm>
          <a:prstGeom prst="rect">
            <a:avLst/>
          </a:prstGeom>
        </p:spPr>
      </p:pic>
      <p:sp>
        <p:nvSpPr>
          <p:cNvPr id="12"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
        <p:nvSpPr>
          <p:cNvPr id="17" name="Text Placeholder 16"/>
          <p:cNvSpPr>
            <a:spLocks noGrp="1"/>
          </p:cNvSpPr>
          <p:nvPr>
            <p:ph type="body" sz="quarter" idx="12" hasCustomPrompt="1"/>
          </p:nvPr>
        </p:nvSpPr>
        <p:spPr>
          <a:xfrm>
            <a:off x="4633588" y="122770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18" name="Text Placeholder 16"/>
          <p:cNvSpPr>
            <a:spLocks noGrp="1"/>
          </p:cNvSpPr>
          <p:nvPr>
            <p:ph type="body" sz="quarter" idx="13" hasCustomPrompt="1"/>
          </p:nvPr>
        </p:nvSpPr>
        <p:spPr>
          <a:xfrm>
            <a:off x="6285516" y="122770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19" name="Text Placeholder 16"/>
          <p:cNvSpPr>
            <a:spLocks noGrp="1"/>
          </p:cNvSpPr>
          <p:nvPr>
            <p:ph type="body" sz="quarter" idx="14" hasCustomPrompt="1"/>
          </p:nvPr>
        </p:nvSpPr>
        <p:spPr>
          <a:xfrm>
            <a:off x="7117223" y="2665802"/>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20" name="Text Placeholder 16"/>
          <p:cNvSpPr>
            <a:spLocks noGrp="1"/>
          </p:cNvSpPr>
          <p:nvPr>
            <p:ph type="body" sz="quarter" idx="15" hasCustomPrompt="1"/>
          </p:nvPr>
        </p:nvSpPr>
        <p:spPr>
          <a:xfrm>
            <a:off x="5481117" y="267243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21" name="Text Placeholder 16"/>
          <p:cNvSpPr>
            <a:spLocks noGrp="1"/>
          </p:cNvSpPr>
          <p:nvPr>
            <p:ph type="body" sz="quarter" idx="16" hasCustomPrompt="1"/>
          </p:nvPr>
        </p:nvSpPr>
        <p:spPr>
          <a:xfrm>
            <a:off x="4633588" y="1882298"/>
            <a:ext cx="1490418" cy="600669"/>
          </a:xfrm>
          <a:prstGeom prst="rect">
            <a:avLst/>
          </a:prstGeom>
        </p:spPr>
        <p:txBody>
          <a:bodyPr/>
          <a:lstStyle>
            <a:lvl1pPr marL="0" indent="0" algn="ctr">
              <a:lnSpc>
                <a:spcPct val="70000"/>
              </a:lnSpc>
              <a:buFontTx/>
              <a:buNone/>
              <a:defRPr sz="700" b="0">
                <a:solidFill>
                  <a:schemeClr val="bg1"/>
                </a:solidFill>
              </a:defRPr>
            </a:lvl1pPr>
          </a:lstStyle>
          <a:p>
            <a:pPr lvl="0"/>
            <a:r>
              <a:rPr lang="en-US" dirty="0" smtClean="0"/>
              <a:t>26% customer activity rate among</a:t>
            </a:r>
            <a:endParaRPr lang="en-US" dirty="0"/>
          </a:p>
        </p:txBody>
      </p:sp>
      <p:sp>
        <p:nvSpPr>
          <p:cNvPr id="22" name="Text Placeholder 16"/>
          <p:cNvSpPr>
            <a:spLocks noGrp="1"/>
          </p:cNvSpPr>
          <p:nvPr>
            <p:ph type="body" sz="quarter" idx="17" hasCustomPrompt="1"/>
          </p:nvPr>
        </p:nvSpPr>
        <p:spPr>
          <a:xfrm>
            <a:off x="6285515" y="1882298"/>
            <a:ext cx="1490418" cy="600669"/>
          </a:xfrm>
          <a:prstGeom prst="rect">
            <a:avLst/>
          </a:prstGeom>
        </p:spPr>
        <p:txBody>
          <a:bodyPr/>
          <a:lstStyle>
            <a:lvl1pPr marL="0" indent="0" algn="ctr">
              <a:lnSpc>
                <a:spcPct val="70000"/>
              </a:lnSpc>
              <a:buFontTx/>
              <a:buNone/>
              <a:defRPr sz="700" b="0">
                <a:solidFill>
                  <a:srgbClr val="193C6C"/>
                </a:solidFill>
              </a:defRPr>
            </a:lvl1pPr>
          </a:lstStyle>
          <a:p>
            <a:pPr lvl="0"/>
            <a:r>
              <a:rPr lang="en-US" dirty="0" smtClean="0"/>
              <a:t>26% customer activity rate among</a:t>
            </a:r>
            <a:endParaRPr lang="en-US" dirty="0"/>
          </a:p>
        </p:txBody>
      </p:sp>
      <p:sp>
        <p:nvSpPr>
          <p:cNvPr id="23" name="Text Placeholder 16"/>
          <p:cNvSpPr>
            <a:spLocks noGrp="1"/>
          </p:cNvSpPr>
          <p:nvPr>
            <p:ph type="body" sz="quarter" idx="18" hasCustomPrompt="1"/>
          </p:nvPr>
        </p:nvSpPr>
        <p:spPr>
          <a:xfrm>
            <a:off x="7109322" y="3329190"/>
            <a:ext cx="1490418" cy="546063"/>
          </a:xfrm>
          <a:prstGeom prst="rect">
            <a:avLst/>
          </a:prstGeom>
        </p:spPr>
        <p:txBody>
          <a:bodyPr/>
          <a:lstStyle>
            <a:lvl1pPr marL="0" indent="0" algn="ctr">
              <a:lnSpc>
                <a:spcPct val="70000"/>
              </a:lnSpc>
              <a:buFontTx/>
              <a:buNone/>
              <a:defRPr sz="700" b="0">
                <a:solidFill>
                  <a:schemeClr val="bg1"/>
                </a:solidFill>
              </a:defRPr>
            </a:lvl1pPr>
          </a:lstStyle>
          <a:p>
            <a:pPr lvl="0"/>
            <a:r>
              <a:rPr lang="en-US" dirty="0" smtClean="0"/>
              <a:t>26% customer activity rate among</a:t>
            </a:r>
            <a:endParaRPr lang="en-US" dirty="0"/>
          </a:p>
        </p:txBody>
      </p:sp>
      <p:sp>
        <p:nvSpPr>
          <p:cNvPr id="24" name="Text Placeholder 16"/>
          <p:cNvSpPr>
            <a:spLocks noGrp="1"/>
          </p:cNvSpPr>
          <p:nvPr>
            <p:ph type="body" sz="quarter" idx="19" hasCustomPrompt="1"/>
          </p:nvPr>
        </p:nvSpPr>
        <p:spPr>
          <a:xfrm>
            <a:off x="5489017" y="3335823"/>
            <a:ext cx="1490418" cy="546063"/>
          </a:xfrm>
          <a:prstGeom prst="rect">
            <a:avLst/>
          </a:prstGeom>
        </p:spPr>
        <p:txBody>
          <a:bodyPr/>
          <a:lstStyle>
            <a:lvl1pPr marL="0" indent="0" algn="ctr">
              <a:lnSpc>
                <a:spcPct val="70000"/>
              </a:lnSpc>
              <a:buFontTx/>
              <a:buNone/>
              <a:defRPr sz="700" b="0">
                <a:solidFill>
                  <a:srgbClr val="193C6C"/>
                </a:solidFill>
              </a:defRPr>
            </a:lvl1pPr>
          </a:lstStyle>
          <a:p>
            <a:pPr lvl="0"/>
            <a:r>
              <a:rPr lang="en-US" dirty="0" smtClean="0"/>
              <a:t>26% customer activity rate among</a:t>
            </a:r>
            <a:endParaRPr lang="en-US" dirty="0"/>
          </a:p>
        </p:txBody>
      </p:sp>
    </p:spTree>
    <p:extLst>
      <p:ext uri="{BB962C8B-B14F-4D97-AF65-F5344CB8AC3E}">
        <p14:creationId xmlns:p14="http://schemas.microsoft.com/office/powerpoint/2010/main" val="49799770"/>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a:xfrm>
            <a:off x="4735102" y="-618"/>
            <a:ext cx="4408897" cy="4905993"/>
          </a:xfrm>
          <a:custGeom>
            <a:avLst/>
            <a:gdLst>
              <a:gd name="connsiteX0" fmla="*/ 0 w 4391025"/>
              <a:gd name="connsiteY0" fmla="*/ 0 h 4905375"/>
              <a:gd name="connsiteX1" fmla="*/ 4391025 w 4391025"/>
              <a:gd name="connsiteY1" fmla="*/ 0 h 4905375"/>
              <a:gd name="connsiteX2" fmla="*/ 4391025 w 4391025"/>
              <a:gd name="connsiteY2" fmla="*/ 4905375 h 4905375"/>
              <a:gd name="connsiteX3" fmla="*/ 0 w 4391025"/>
              <a:gd name="connsiteY3" fmla="*/ 4905375 h 4905375"/>
              <a:gd name="connsiteX4" fmla="*/ 0 w 4391025"/>
              <a:gd name="connsiteY4" fmla="*/ 0 h 4905375"/>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906162 w 4391025"/>
              <a:gd name="connsiteY4"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809625 w 4391025"/>
              <a:gd name="connsiteY4" fmla="*/ 54163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687705 w 4391025"/>
              <a:gd name="connsiteY4" fmla="*/ 32827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432435 w 4391025"/>
              <a:gd name="connsiteY4" fmla="*/ 19970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32385 w 4391025"/>
              <a:gd name="connsiteY4" fmla="*/ 25685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7145 w 4391025"/>
              <a:gd name="connsiteY4" fmla="*/ 3475338 h 4913613"/>
              <a:gd name="connsiteX5" fmla="*/ 32385 w 4391025"/>
              <a:gd name="connsiteY5" fmla="*/ 2568558 h 4913613"/>
              <a:gd name="connsiteX6" fmla="*/ 687705 w 4391025"/>
              <a:gd name="connsiteY6" fmla="*/ 328278 h 4913613"/>
              <a:gd name="connsiteX7" fmla="*/ 906162 w 4391025"/>
              <a:gd name="connsiteY7"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27635 w 4391025"/>
              <a:gd name="connsiteY4" fmla="*/ 3220068 h 4913613"/>
              <a:gd name="connsiteX5" fmla="*/ 32385 w 4391025"/>
              <a:gd name="connsiteY5" fmla="*/ 2568558 h 4913613"/>
              <a:gd name="connsiteX6" fmla="*/ 687705 w 4391025"/>
              <a:gd name="connsiteY6" fmla="*/ 328278 h 4913613"/>
              <a:gd name="connsiteX7" fmla="*/ 906162 w 4391025"/>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5250 w 4358640"/>
              <a:gd name="connsiteY4" fmla="*/ 3220068 h 4913613"/>
              <a:gd name="connsiteX5" fmla="*/ 0 w 4358640"/>
              <a:gd name="connsiteY5" fmla="*/ 2568558 h 4913613"/>
              <a:gd name="connsiteX6" fmla="*/ 655320 w 4358640"/>
              <a:gd name="connsiteY6" fmla="*/ 328278 h 4913613"/>
              <a:gd name="connsiteX7" fmla="*/ 873777 w 4358640"/>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1440 w 4358640"/>
              <a:gd name="connsiteY4" fmla="*/ 3204828 h 4913613"/>
              <a:gd name="connsiteX5" fmla="*/ 0 w 4358640"/>
              <a:gd name="connsiteY5" fmla="*/ 2568558 h 4913613"/>
              <a:gd name="connsiteX6" fmla="*/ 655320 w 4358640"/>
              <a:gd name="connsiteY6" fmla="*/ 328278 h 4913613"/>
              <a:gd name="connsiteX7" fmla="*/ 873777 w 4358640"/>
              <a:gd name="connsiteY7" fmla="*/ 0 h 4913613"/>
              <a:gd name="connsiteX0" fmla="*/ 881147 w 4366010"/>
              <a:gd name="connsiteY0" fmla="*/ 0 h 4913613"/>
              <a:gd name="connsiteX1" fmla="*/ 4366010 w 4366010"/>
              <a:gd name="connsiteY1" fmla="*/ 8238 h 4913613"/>
              <a:gd name="connsiteX2" fmla="*/ 4366010 w 4366010"/>
              <a:gd name="connsiteY2" fmla="*/ 4913613 h 4913613"/>
              <a:gd name="connsiteX3" fmla="*/ 1617095 w 4366010"/>
              <a:gd name="connsiteY3" fmla="*/ 4780263 h 4913613"/>
              <a:gd name="connsiteX4" fmla="*/ 98810 w 4366010"/>
              <a:gd name="connsiteY4" fmla="*/ 3204828 h 4913613"/>
              <a:gd name="connsiteX5" fmla="*/ 7370 w 4366010"/>
              <a:gd name="connsiteY5" fmla="*/ 2568558 h 4913613"/>
              <a:gd name="connsiteX6" fmla="*/ 662690 w 4366010"/>
              <a:gd name="connsiteY6" fmla="*/ 328278 h 4913613"/>
              <a:gd name="connsiteX7" fmla="*/ 881147 w 4366010"/>
              <a:gd name="connsiteY7" fmla="*/ 0 h 4913613"/>
              <a:gd name="connsiteX0" fmla="*/ 915784 w 4400647"/>
              <a:gd name="connsiteY0" fmla="*/ 0 h 4913613"/>
              <a:gd name="connsiteX1" fmla="*/ 4400647 w 4400647"/>
              <a:gd name="connsiteY1" fmla="*/ 8238 h 4913613"/>
              <a:gd name="connsiteX2" fmla="*/ 4400647 w 4400647"/>
              <a:gd name="connsiteY2" fmla="*/ 4913613 h 4913613"/>
              <a:gd name="connsiteX3" fmla="*/ 1651732 w 4400647"/>
              <a:gd name="connsiteY3" fmla="*/ 4780263 h 4913613"/>
              <a:gd name="connsiteX4" fmla="*/ 133447 w 4400647"/>
              <a:gd name="connsiteY4" fmla="*/ 3204828 h 4913613"/>
              <a:gd name="connsiteX5" fmla="*/ 42007 w 4400647"/>
              <a:gd name="connsiteY5" fmla="*/ 2568558 h 4913613"/>
              <a:gd name="connsiteX6" fmla="*/ 697327 w 4400647"/>
              <a:gd name="connsiteY6" fmla="*/ 328278 h 4913613"/>
              <a:gd name="connsiteX7" fmla="*/ 915784 w 4400647"/>
              <a:gd name="connsiteY7" fmla="*/ 0 h 491361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28216 w 4397839"/>
              <a:gd name="connsiteY0" fmla="*/ 0 h 4905993"/>
              <a:gd name="connsiteX1" fmla="*/ 4397839 w 4397839"/>
              <a:gd name="connsiteY1" fmla="*/ 618 h 4905993"/>
              <a:gd name="connsiteX2" fmla="*/ 4397839 w 4397839"/>
              <a:gd name="connsiteY2" fmla="*/ 4905993 h 4905993"/>
              <a:gd name="connsiteX3" fmla="*/ 1648924 w 4397839"/>
              <a:gd name="connsiteY3" fmla="*/ 4772643 h 4905993"/>
              <a:gd name="connsiteX4" fmla="*/ 138259 w 4397839"/>
              <a:gd name="connsiteY4" fmla="*/ 3208638 h 4905993"/>
              <a:gd name="connsiteX5" fmla="*/ 39199 w 4397839"/>
              <a:gd name="connsiteY5" fmla="*/ 2560938 h 4905993"/>
              <a:gd name="connsiteX6" fmla="*/ 694519 w 4397839"/>
              <a:gd name="connsiteY6" fmla="*/ 320658 h 4905993"/>
              <a:gd name="connsiteX7" fmla="*/ 928216 w 4397839"/>
              <a:gd name="connsiteY7" fmla="*/ 0 h 4905993"/>
              <a:gd name="connsiteX0" fmla="*/ 931629 w 4401252"/>
              <a:gd name="connsiteY0" fmla="*/ 0 h 4905993"/>
              <a:gd name="connsiteX1" fmla="*/ 4401252 w 4401252"/>
              <a:gd name="connsiteY1" fmla="*/ 618 h 4905993"/>
              <a:gd name="connsiteX2" fmla="*/ 4401252 w 4401252"/>
              <a:gd name="connsiteY2" fmla="*/ 4905993 h 4905993"/>
              <a:gd name="connsiteX3" fmla="*/ 1652337 w 4401252"/>
              <a:gd name="connsiteY3" fmla="*/ 4772643 h 4905993"/>
              <a:gd name="connsiteX4" fmla="*/ 141672 w 4401252"/>
              <a:gd name="connsiteY4" fmla="*/ 3208638 h 4905993"/>
              <a:gd name="connsiteX5" fmla="*/ 42612 w 4401252"/>
              <a:gd name="connsiteY5" fmla="*/ 2560938 h 4905993"/>
              <a:gd name="connsiteX6" fmla="*/ 697932 w 4401252"/>
              <a:gd name="connsiteY6" fmla="*/ 320658 h 4905993"/>
              <a:gd name="connsiteX7" fmla="*/ 931629 w 4401252"/>
              <a:gd name="connsiteY7" fmla="*/ 0 h 4905993"/>
              <a:gd name="connsiteX0" fmla="*/ 937706 w 4407329"/>
              <a:gd name="connsiteY0" fmla="*/ 0 h 4905993"/>
              <a:gd name="connsiteX1" fmla="*/ 4407329 w 4407329"/>
              <a:gd name="connsiteY1" fmla="*/ 618 h 4905993"/>
              <a:gd name="connsiteX2" fmla="*/ 4407329 w 4407329"/>
              <a:gd name="connsiteY2" fmla="*/ 4905993 h 4905993"/>
              <a:gd name="connsiteX3" fmla="*/ 1658414 w 4407329"/>
              <a:gd name="connsiteY3" fmla="*/ 4772643 h 4905993"/>
              <a:gd name="connsiteX4" fmla="*/ 147749 w 4407329"/>
              <a:gd name="connsiteY4" fmla="*/ 3208638 h 4905993"/>
              <a:gd name="connsiteX5" fmla="*/ 48689 w 4407329"/>
              <a:gd name="connsiteY5" fmla="*/ 2560938 h 4905993"/>
              <a:gd name="connsiteX6" fmla="*/ 704009 w 4407329"/>
              <a:gd name="connsiteY6" fmla="*/ 320658 h 4905993"/>
              <a:gd name="connsiteX7" fmla="*/ 937706 w 4407329"/>
              <a:gd name="connsiteY7" fmla="*/ 0 h 4905993"/>
              <a:gd name="connsiteX0" fmla="*/ 939274 w 4408897"/>
              <a:gd name="connsiteY0" fmla="*/ 0 h 4905993"/>
              <a:gd name="connsiteX1" fmla="*/ 4408897 w 4408897"/>
              <a:gd name="connsiteY1" fmla="*/ 618 h 4905993"/>
              <a:gd name="connsiteX2" fmla="*/ 4408897 w 4408897"/>
              <a:gd name="connsiteY2" fmla="*/ 4905993 h 4905993"/>
              <a:gd name="connsiteX3" fmla="*/ 1659982 w 4408897"/>
              <a:gd name="connsiteY3" fmla="*/ 4772643 h 4905993"/>
              <a:gd name="connsiteX4" fmla="*/ 149317 w 4408897"/>
              <a:gd name="connsiteY4" fmla="*/ 3208638 h 4905993"/>
              <a:gd name="connsiteX5" fmla="*/ 50257 w 4408897"/>
              <a:gd name="connsiteY5" fmla="*/ 2560938 h 4905993"/>
              <a:gd name="connsiteX6" fmla="*/ 705577 w 4408897"/>
              <a:gd name="connsiteY6" fmla="*/ 320658 h 4905993"/>
              <a:gd name="connsiteX7" fmla="*/ 939274 w 4408897"/>
              <a:gd name="connsiteY7" fmla="*/ 0 h 490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8897" h="4905993">
                <a:moveTo>
                  <a:pt x="939274" y="0"/>
                </a:moveTo>
                <a:lnTo>
                  <a:pt x="4408897" y="618"/>
                </a:lnTo>
                <a:lnTo>
                  <a:pt x="4408897" y="4905993"/>
                </a:lnTo>
                <a:lnTo>
                  <a:pt x="1659982" y="4772643"/>
                </a:lnTo>
                <a:lnTo>
                  <a:pt x="149317" y="3208638"/>
                </a:lnTo>
                <a:cubicBezTo>
                  <a:pt x="-52613" y="2977498"/>
                  <a:pt x="-10703" y="2757788"/>
                  <a:pt x="50257" y="2560938"/>
                </a:cubicBezTo>
                <a:lnTo>
                  <a:pt x="705577" y="320658"/>
                </a:lnTo>
                <a:cubicBezTo>
                  <a:pt x="752996" y="183292"/>
                  <a:pt x="823275" y="91646"/>
                  <a:pt x="939274" y="0"/>
                </a:cubicBezTo>
                <a:close/>
              </a:path>
            </a:pathLst>
          </a:custGeom>
        </p:spPr>
        <p:txBody>
          <a:bodyPr anchor="ctr"/>
          <a:lstStyle>
            <a:lvl1pPr algn="ctr">
              <a:defRPr/>
            </a:lvl1pPr>
          </a:lstStyle>
          <a:p>
            <a:endParaRPr lang="en-US" dirty="0"/>
          </a:p>
        </p:txBody>
      </p:sp>
      <p:sp>
        <p:nvSpPr>
          <p:cNvPr id="3" name="Content Placeholder 2"/>
          <p:cNvSpPr>
            <a:spLocks noGrp="1"/>
          </p:cNvSpPr>
          <p:nvPr>
            <p:ph sz="half" idx="1"/>
          </p:nvPr>
        </p:nvSpPr>
        <p:spPr>
          <a:xfrm>
            <a:off x="457200" y="931641"/>
            <a:ext cx="4038600" cy="3276217"/>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4038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pic>
        <p:nvPicPr>
          <p:cNvPr id="16" name="Picture 15"/>
          <p:cNvPicPr>
            <a:picLocks noChangeAspect="1"/>
          </p:cNvPicPr>
          <p:nvPr userDrawn="1"/>
        </p:nvPicPr>
        <p:blipFill>
          <a:blip r:embed="rId2"/>
          <a:stretch>
            <a:fillRect/>
          </a:stretch>
        </p:blipFill>
        <p:spPr>
          <a:xfrm>
            <a:off x="5874818" y="4276166"/>
            <a:ext cx="3269181" cy="867334"/>
          </a:xfrm>
          <a:prstGeom prst="rect">
            <a:avLst/>
          </a:prstGeom>
        </p:spPr>
      </p:pic>
      <p:sp>
        <p:nvSpPr>
          <p:cNvPr id="17"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spTree>
    <p:extLst>
      <p:ext uri="{BB962C8B-B14F-4D97-AF65-F5344CB8AC3E}">
        <p14:creationId xmlns:p14="http://schemas.microsoft.com/office/powerpoint/2010/main" val="1994448731"/>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3594537" y="1366081"/>
            <a:ext cx="4595647" cy="3142844"/>
          </a:xfrm>
          <a:prstGeom prst="rect">
            <a:avLst/>
          </a:prstGeom>
        </p:spPr>
        <p:txBody>
          <a:bodyPr vert="horz" lIns="91440" tIns="45720" rIns="91440" bIns="45720" rtlCol="0">
            <a:noAutofit/>
          </a:bodyPr>
          <a:lstStyle>
            <a:lvl1pPr marL="0" indent="0">
              <a:buNone/>
              <a:defRPr sz="900" baseline="0">
                <a:solidFill>
                  <a:schemeClr val="tx1"/>
                </a:solidFill>
              </a:defRPr>
            </a:lvl1pPr>
          </a:lstStyle>
          <a:p>
            <a:pPr lvl="0"/>
            <a:r>
              <a:rPr lang="en-JM" dirty="0"/>
              <a:t>Click to insert content</a:t>
            </a:r>
          </a:p>
        </p:txBody>
      </p:sp>
      <p:sp>
        <p:nvSpPr>
          <p:cNvPr id="8" name="Title Placeholder 1"/>
          <p:cNvSpPr>
            <a:spLocks noGrp="1"/>
          </p:cNvSpPr>
          <p:nvPr>
            <p:ph type="title"/>
          </p:nvPr>
        </p:nvSpPr>
        <p:spPr>
          <a:xfrm>
            <a:off x="3594537" y="864630"/>
            <a:ext cx="4595647" cy="432049"/>
          </a:xfrm>
          <a:prstGeom prst="rect">
            <a:avLst/>
          </a:prstGeom>
        </p:spPr>
        <p:txBody>
          <a:bodyPr vert="horz" lIns="91440" tIns="45720" rIns="91440" bIns="45720" rtlCol="0" anchor="t" anchorCtr="0">
            <a:normAutofit/>
          </a:bodyPr>
          <a:lstStyle>
            <a:lvl1pPr>
              <a:defRPr sz="2000">
                <a:solidFill>
                  <a:srgbClr val="00ACD4"/>
                </a:solidFill>
              </a:defRPr>
            </a:lvl1pPr>
          </a:lstStyle>
          <a:p>
            <a:r>
              <a:rPr lang="en-US" dirty="0"/>
              <a:t>Click to edit Master title style</a:t>
            </a:r>
            <a:endParaRPr lang="en-JM" dirty="0"/>
          </a:p>
        </p:txBody>
      </p:sp>
      <p:sp>
        <p:nvSpPr>
          <p:cNvPr id="13" name="Picture Placeholder 12"/>
          <p:cNvSpPr>
            <a:spLocks noGrp="1"/>
          </p:cNvSpPr>
          <p:nvPr>
            <p:ph type="pic" sz="quarter" idx="10"/>
          </p:nvPr>
        </p:nvSpPr>
        <p:spPr>
          <a:xfrm>
            <a:off x="-2796" y="-2604"/>
            <a:ext cx="3362588" cy="5149790"/>
          </a:xfrm>
          <a:custGeom>
            <a:avLst/>
            <a:gdLst>
              <a:gd name="connsiteX0" fmla="*/ 0 w 3359150"/>
              <a:gd name="connsiteY0" fmla="*/ 425100 h 5143500"/>
              <a:gd name="connsiteX1" fmla="*/ 425100 w 3359150"/>
              <a:gd name="connsiteY1" fmla="*/ 0 h 5143500"/>
              <a:gd name="connsiteX2" fmla="*/ 2934050 w 3359150"/>
              <a:gd name="connsiteY2" fmla="*/ 0 h 5143500"/>
              <a:gd name="connsiteX3" fmla="*/ 3359150 w 3359150"/>
              <a:gd name="connsiteY3" fmla="*/ 42510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2934050 w 3359150"/>
              <a:gd name="connsiteY2" fmla="*/ 0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1917015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3261309 w 3686409"/>
              <a:gd name="connsiteY5" fmla="*/ 5143500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2462412 w 3686409"/>
              <a:gd name="connsiteY5" fmla="*/ 4719988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67333"/>
              <a:gd name="connsiteY0" fmla="*/ 425100 h 5143500"/>
              <a:gd name="connsiteX1" fmla="*/ 2244274 w 3667333"/>
              <a:gd name="connsiteY1" fmla="*/ 0 h 5143500"/>
              <a:gd name="connsiteX2" fmla="*/ 3509121 w 3667333"/>
              <a:gd name="connsiteY2" fmla="*/ 1358598 h 5143500"/>
              <a:gd name="connsiteX3" fmla="*/ 3647908 w 3667333"/>
              <a:gd name="connsiteY3" fmla="*/ 2071020 h 5143500"/>
              <a:gd name="connsiteX4" fmla="*/ 3031891 w 3667333"/>
              <a:gd name="connsiteY4" fmla="*/ 4217886 h 5143500"/>
              <a:gd name="connsiteX5" fmla="*/ 2462412 w 3667333"/>
              <a:gd name="connsiteY5" fmla="*/ 4719988 h 5143500"/>
              <a:gd name="connsiteX6" fmla="*/ 752359 w 3667333"/>
              <a:gd name="connsiteY6" fmla="*/ 5143500 h 5143500"/>
              <a:gd name="connsiteX7" fmla="*/ 0 w 3667333"/>
              <a:gd name="connsiteY7" fmla="*/ 3447865 h 5143500"/>
              <a:gd name="connsiteX8" fmla="*/ 327259 w 3667333"/>
              <a:gd name="connsiteY8" fmla="*/ 425100 h 5143500"/>
              <a:gd name="connsiteX0" fmla="*/ 327259 w 3691611"/>
              <a:gd name="connsiteY0" fmla="*/ 425100 h 5143500"/>
              <a:gd name="connsiteX1" fmla="*/ 2244274 w 3691611"/>
              <a:gd name="connsiteY1" fmla="*/ 0 h 5143500"/>
              <a:gd name="connsiteX2" fmla="*/ 3509121 w 3691611"/>
              <a:gd name="connsiteY2" fmla="*/ 1358598 h 5143500"/>
              <a:gd name="connsiteX3" fmla="*/ 3647908 w 3691611"/>
              <a:gd name="connsiteY3" fmla="*/ 2071020 h 5143500"/>
              <a:gd name="connsiteX4" fmla="*/ 3031891 w 3691611"/>
              <a:gd name="connsiteY4" fmla="*/ 4217886 h 5143500"/>
              <a:gd name="connsiteX5" fmla="*/ 2462412 w 3691611"/>
              <a:gd name="connsiteY5" fmla="*/ 4719988 h 5143500"/>
              <a:gd name="connsiteX6" fmla="*/ 752359 w 3691611"/>
              <a:gd name="connsiteY6" fmla="*/ 5143500 h 5143500"/>
              <a:gd name="connsiteX7" fmla="*/ 0 w 3691611"/>
              <a:gd name="connsiteY7" fmla="*/ 3447865 h 5143500"/>
              <a:gd name="connsiteX8" fmla="*/ 327259 w 3691611"/>
              <a:gd name="connsiteY8" fmla="*/ 425100 h 5143500"/>
              <a:gd name="connsiteX0" fmla="*/ 327259 w 3686530"/>
              <a:gd name="connsiteY0" fmla="*/ 425100 h 5143500"/>
              <a:gd name="connsiteX1" fmla="*/ 2244274 w 3686530"/>
              <a:gd name="connsiteY1" fmla="*/ 0 h 5143500"/>
              <a:gd name="connsiteX2" fmla="*/ 3509121 w 3686530"/>
              <a:gd name="connsiteY2" fmla="*/ 1358598 h 5143500"/>
              <a:gd name="connsiteX3" fmla="*/ 3636847 w 3686530"/>
              <a:gd name="connsiteY3" fmla="*/ 2096830 h 5143500"/>
              <a:gd name="connsiteX4" fmla="*/ 3031891 w 3686530"/>
              <a:gd name="connsiteY4" fmla="*/ 4217886 h 5143500"/>
              <a:gd name="connsiteX5" fmla="*/ 2462412 w 3686530"/>
              <a:gd name="connsiteY5" fmla="*/ 4719988 h 5143500"/>
              <a:gd name="connsiteX6" fmla="*/ 752359 w 3686530"/>
              <a:gd name="connsiteY6" fmla="*/ 5143500 h 5143500"/>
              <a:gd name="connsiteX7" fmla="*/ 0 w 3686530"/>
              <a:gd name="connsiteY7" fmla="*/ 3447865 h 5143500"/>
              <a:gd name="connsiteX8" fmla="*/ 327259 w 3686530"/>
              <a:gd name="connsiteY8" fmla="*/ 425100 h 5143500"/>
              <a:gd name="connsiteX0" fmla="*/ 327259 w 3703888"/>
              <a:gd name="connsiteY0" fmla="*/ 425100 h 5143500"/>
              <a:gd name="connsiteX1" fmla="*/ 2244274 w 3703888"/>
              <a:gd name="connsiteY1" fmla="*/ 0 h 5143500"/>
              <a:gd name="connsiteX2" fmla="*/ 3509121 w 3703888"/>
              <a:gd name="connsiteY2" fmla="*/ 1358598 h 5143500"/>
              <a:gd name="connsiteX3" fmla="*/ 3636847 w 3703888"/>
              <a:gd name="connsiteY3" fmla="*/ 2096830 h 5143500"/>
              <a:gd name="connsiteX4" fmla="*/ 3031891 w 3703888"/>
              <a:gd name="connsiteY4" fmla="*/ 4217886 h 5143500"/>
              <a:gd name="connsiteX5" fmla="*/ 2462412 w 3703888"/>
              <a:gd name="connsiteY5" fmla="*/ 4719988 h 5143500"/>
              <a:gd name="connsiteX6" fmla="*/ 752359 w 3703888"/>
              <a:gd name="connsiteY6" fmla="*/ 5143500 h 5143500"/>
              <a:gd name="connsiteX7" fmla="*/ 0 w 3703888"/>
              <a:gd name="connsiteY7" fmla="*/ 3447865 h 5143500"/>
              <a:gd name="connsiteX8" fmla="*/ 327259 w 3703888"/>
              <a:gd name="connsiteY8" fmla="*/ 425100 h 5143500"/>
              <a:gd name="connsiteX0" fmla="*/ 327259 w 3682668"/>
              <a:gd name="connsiteY0" fmla="*/ 425100 h 5143500"/>
              <a:gd name="connsiteX1" fmla="*/ 2244274 w 3682668"/>
              <a:gd name="connsiteY1" fmla="*/ 0 h 5143500"/>
              <a:gd name="connsiteX2" fmla="*/ 3461189 w 3682668"/>
              <a:gd name="connsiteY2" fmla="*/ 1310666 h 5143500"/>
              <a:gd name="connsiteX3" fmla="*/ 3636847 w 3682668"/>
              <a:gd name="connsiteY3" fmla="*/ 2096830 h 5143500"/>
              <a:gd name="connsiteX4" fmla="*/ 3031891 w 3682668"/>
              <a:gd name="connsiteY4" fmla="*/ 4217886 h 5143500"/>
              <a:gd name="connsiteX5" fmla="*/ 2462412 w 3682668"/>
              <a:gd name="connsiteY5" fmla="*/ 4719988 h 5143500"/>
              <a:gd name="connsiteX6" fmla="*/ 752359 w 3682668"/>
              <a:gd name="connsiteY6" fmla="*/ 5143500 h 5143500"/>
              <a:gd name="connsiteX7" fmla="*/ 0 w 3682668"/>
              <a:gd name="connsiteY7" fmla="*/ 3447865 h 5143500"/>
              <a:gd name="connsiteX8" fmla="*/ 327259 w 3682668"/>
              <a:gd name="connsiteY8" fmla="*/ 425100 h 5143500"/>
              <a:gd name="connsiteX0" fmla="*/ 327259 w 3693650"/>
              <a:gd name="connsiteY0" fmla="*/ 425100 h 5143500"/>
              <a:gd name="connsiteX1" fmla="*/ 2244274 w 3693650"/>
              <a:gd name="connsiteY1" fmla="*/ 0 h 5143500"/>
              <a:gd name="connsiteX2" fmla="*/ 3461189 w 3693650"/>
              <a:gd name="connsiteY2" fmla="*/ 1310666 h 5143500"/>
              <a:gd name="connsiteX3" fmla="*/ 3636847 w 3693650"/>
              <a:gd name="connsiteY3" fmla="*/ 2096830 h 5143500"/>
              <a:gd name="connsiteX4" fmla="*/ 3031891 w 3693650"/>
              <a:gd name="connsiteY4" fmla="*/ 4217886 h 5143500"/>
              <a:gd name="connsiteX5" fmla="*/ 2462412 w 3693650"/>
              <a:gd name="connsiteY5" fmla="*/ 4719988 h 5143500"/>
              <a:gd name="connsiteX6" fmla="*/ 752359 w 3693650"/>
              <a:gd name="connsiteY6" fmla="*/ 5143500 h 5143500"/>
              <a:gd name="connsiteX7" fmla="*/ 0 w 3693650"/>
              <a:gd name="connsiteY7" fmla="*/ 3447865 h 5143500"/>
              <a:gd name="connsiteX8" fmla="*/ 327259 w 3693650"/>
              <a:gd name="connsiteY8" fmla="*/ 425100 h 5143500"/>
              <a:gd name="connsiteX0" fmla="*/ 327259 w 3688927"/>
              <a:gd name="connsiteY0" fmla="*/ 425100 h 5143500"/>
              <a:gd name="connsiteX1" fmla="*/ 2244274 w 3688927"/>
              <a:gd name="connsiteY1" fmla="*/ 0 h 5143500"/>
              <a:gd name="connsiteX2" fmla="*/ 3461189 w 3688927"/>
              <a:gd name="connsiteY2" fmla="*/ 1310666 h 5143500"/>
              <a:gd name="connsiteX3" fmla="*/ 3636847 w 3688927"/>
              <a:gd name="connsiteY3" fmla="*/ 2096830 h 5143500"/>
              <a:gd name="connsiteX4" fmla="*/ 3031891 w 3688927"/>
              <a:gd name="connsiteY4" fmla="*/ 4217886 h 5143500"/>
              <a:gd name="connsiteX5" fmla="*/ 2462412 w 3688927"/>
              <a:gd name="connsiteY5" fmla="*/ 4719988 h 5143500"/>
              <a:gd name="connsiteX6" fmla="*/ 752359 w 3688927"/>
              <a:gd name="connsiteY6" fmla="*/ 5143500 h 5143500"/>
              <a:gd name="connsiteX7" fmla="*/ 0 w 3688927"/>
              <a:gd name="connsiteY7" fmla="*/ 3447865 h 5143500"/>
              <a:gd name="connsiteX8" fmla="*/ 327259 w 3688927"/>
              <a:gd name="connsiteY8" fmla="*/ 425100 h 5143500"/>
              <a:gd name="connsiteX0" fmla="*/ 327259 w 3693208"/>
              <a:gd name="connsiteY0" fmla="*/ 425100 h 5143500"/>
              <a:gd name="connsiteX1" fmla="*/ 2244274 w 3693208"/>
              <a:gd name="connsiteY1" fmla="*/ 0 h 5143500"/>
              <a:gd name="connsiteX2" fmla="*/ 3472251 w 3693208"/>
              <a:gd name="connsiteY2" fmla="*/ 1318040 h 5143500"/>
              <a:gd name="connsiteX3" fmla="*/ 3636847 w 3693208"/>
              <a:gd name="connsiteY3" fmla="*/ 2096830 h 5143500"/>
              <a:gd name="connsiteX4" fmla="*/ 3031891 w 3693208"/>
              <a:gd name="connsiteY4" fmla="*/ 4217886 h 5143500"/>
              <a:gd name="connsiteX5" fmla="*/ 2462412 w 3693208"/>
              <a:gd name="connsiteY5" fmla="*/ 4719988 h 5143500"/>
              <a:gd name="connsiteX6" fmla="*/ 752359 w 3693208"/>
              <a:gd name="connsiteY6" fmla="*/ 5143500 h 5143500"/>
              <a:gd name="connsiteX7" fmla="*/ 0 w 3693208"/>
              <a:gd name="connsiteY7" fmla="*/ 3447865 h 5143500"/>
              <a:gd name="connsiteX8" fmla="*/ 327259 w 3693208"/>
              <a:gd name="connsiteY8" fmla="*/ 425100 h 5143500"/>
              <a:gd name="connsiteX0" fmla="*/ 327259 w 3689737"/>
              <a:gd name="connsiteY0" fmla="*/ 425100 h 5143500"/>
              <a:gd name="connsiteX1" fmla="*/ 2244274 w 3689737"/>
              <a:gd name="connsiteY1" fmla="*/ 0 h 5143500"/>
              <a:gd name="connsiteX2" fmla="*/ 3472251 w 3689737"/>
              <a:gd name="connsiteY2" fmla="*/ 1318040 h 5143500"/>
              <a:gd name="connsiteX3" fmla="*/ 3636847 w 3689737"/>
              <a:gd name="connsiteY3" fmla="*/ 2096830 h 5143500"/>
              <a:gd name="connsiteX4" fmla="*/ 3031891 w 3689737"/>
              <a:gd name="connsiteY4" fmla="*/ 4217886 h 5143500"/>
              <a:gd name="connsiteX5" fmla="*/ 2462412 w 3689737"/>
              <a:gd name="connsiteY5" fmla="*/ 4719988 h 5143500"/>
              <a:gd name="connsiteX6" fmla="*/ 752359 w 3689737"/>
              <a:gd name="connsiteY6" fmla="*/ 5143500 h 5143500"/>
              <a:gd name="connsiteX7" fmla="*/ 0 w 3689737"/>
              <a:gd name="connsiteY7" fmla="*/ 3447865 h 5143500"/>
              <a:gd name="connsiteX8" fmla="*/ 327259 w 3689737"/>
              <a:gd name="connsiteY8" fmla="*/ 425100 h 5143500"/>
              <a:gd name="connsiteX0" fmla="*/ 327259 w 3692863"/>
              <a:gd name="connsiteY0" fmla="*/ 425100 h 5143500"/>
              <a:gd name="connsiteX1" fmla="*/ 2244274 w 3692863"/>
              <a:gd name="connsiteY1" fmla="*/ 0 h 5143500"/>
              <a:gd name="connsiteX2" fmla="*/ 3472251 w 3692863"/>
              <a:gd name="connsiteY2" fmla="*/ 1318040 h 5143500"/>
              <a:gd name="connsiteX3" fmla="*/ 3636847 w 3692863"/>
              <a:gd name="connsiteY3" fmla="*/ 2096830 h 5143500"/>
              <a:gd name="connsiteX4" fmla="*/ 3031891 w 3692863"/>
              <a:gd name="connsiteY4" fmla="*/ 4217886 h 5143500"/>
              <a:gd name="connsiteX5" fmla="*/ 2462412 w 3692863"/>
              <a:gd name="connsiteY5" fmla="*/ 4719988 h 5143500"/>
              <a:gd name="connsiteX6" fmla="*/ 752359 w 3692863"/>
              <a:gd name="connsiteY6" fmla="*/ 5143500 h 5143500"/>
              <a:gd name="connsiteX7" fmla="*/ 0 w 3692863"/>
              <a:gd name="connsiteY7" fmla="*/ 3447865 h 5143500"/>
              <a:gd name="connsiteX8" fmla="*/ 327259 w 3692863"/>
              <a:gd name="connsiteY8" fmla="*/ 425100 h 5143500"/>
              <a:gd name="connsiteX0" fmla="*/ 327259 w 3697188"/>
              <a:gd name="connsiteY0" fmla="*/ 425100 h 5143500"/>
              <a:gd name="connsiteX1" fmla="*/ 2244274 w 3697188"/>
              <a:gd name="connsiteY1" fmla="*/ 0 h 5143500"/>
              <a:gd name="connsiteX2" fmla="*/ 3483312 w 3697188"/>
              <a:gd name="connsiteY2" fmla="*/ 1325414 h 5143500"/>
              <a:gd name="connsiteX3" fmla="*/ 3636847 w 3697188"/>
              <a:gd name="connsiteY3" fmla="*/ 2096830 h 5143500"/>
              <a:gd name="connsiteX4" fmla="*/ 3031891 w 3697188"/>
              <a:gd name="connsiteY4" fmla="*/ 4217886 h 5143500"/>
              <a:gd name="connsiteX5" fmla="*/ 2462412 w 3697188"/>
              <a:gd name="connsiteY5" fmla="*/ 4719988 h 5143500"/>
              <a:gd name="connsiteX6" fmla="*/ 752359 w 3697188"/>
              <a:gd name="connsiteY6" fmla="*/ 5143500 h 5143500"/>
              <a:gd name="connsiteX7" fmla="*/ 0 w 3697188"/>
              <a:gd name="connsiteY7" fmla="*/ 3447865 h 5143500"/>
              <a:gd name="connsiteX8" fmla="*/ 327259 w 3697188"/>
              <a:gd name="connsiteY8" fmla="*/ 425100 h 5143500"/>
              <a:gd name="connsiteX0" fmla="*/ 327259 w 3687052"/>
              <a:gd name="connsiteY0" fmla="*/ 425100 h 5143500"/>
              <a:gd name="connsiteX1" fmla="*/ 2244274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63749 w 3423542"/>
              <a:gd name="connsiteY0" fmla="*/ 425100 h 5150874"/>
              <a:gd name="connsiteX1" fmla="*/ 1947580 w 3423542"/>
              <a:gd name="connsiteY1" fmla="*/ 0 h 5150874"/>
              <a:gd name="connsiteX2" fmla="*/ 3219802 w 3423542"/>
              <a:gd name="connsiteY2" fmla="*/ 1325414 h 5150874"/>
              <a:gd name="connsiteX3" fmla="*/ 3373337 w 3423542"/>
              <a:gd name="connsiteY3" fmla="*/ 2096830 h 5150874"/>
              <a:gd name="connsiteX4" fmla="*/ 2749946 w 3423542"/>
              <a:gd name="connsiteY4" fmla="*/ 4225261 h 5150874"/>
              <a:gd name="connsiteX5" fmla="*/ 2198902 w 3423542"/>
              <a:gd name="connsiteY5" fmla="*/ 4719988 h 5150874"/>
              <a:gd name="connsiteX6" fmla="*/ 433542 w 3423542"/>
              <a:gd name="connsiteY6" fmla="*/ 5150874 h 5150874"/>
              <a:gd name="connsiteX7" fmla="*/ 60954 w 3423542"/>
              <a:gd name="connsiteY7" fmla="*/ 5143930 h 5150874"/>
              <a:gd name="connsiteX8" fmla="*/ 63749 w 3423542"/>
              <a:gd name="connsiteY8" fmla="*/ 425100 h 5150874"/>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2795 w 3362588"/>
              <a:gd name="connsiteY0" fmla="*/ 425100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2795 w 3362588"/>
              <a:gd name="connsiteY8" fmla="*/ 425100 h 5147187"/>
              <a:gd name="connsiteX0" fmla="*/ 2795 w 3362588"/>
              <a:gd name="connsiteY0" fmla="*/ 0 h 5160852"/>
              <a:gd name="connsiteX1" fmla="*/ 1886626 w 3362588"/>
              <a:gd name="connsiteY1" fmla="*/ 13665 h 5160852"/>
              <a:gd name="connsiteX2" fmla="*/ 3158848 w 3362588"/>
              <a:gd name="connsiteY2" fmla="*/ 1339079 h 5160852"/>
              <a:gd name="connsiteX3" fmla="*/ 3312383 w 3362588"/>
              <a:gd name="connsiteY3" fmla="*/ 2110495 h 5160852"/>
              <a:gd name="connsiteX4" fmla="*/ 2688992 w 3362588"/>
              <a:gd name="connsiteY4" fmla="*/ 4238926 h 5160852"/>
              <a:gd name="connsiteX5" fmla="*/ 2137948 w 3362588"/>
              <a:gd name="connsiteY5" fmla="*/ 4733653 h 5160852"/>
              <a:gd name="connsiteX6" fmla="*/ 379962 w 3362588"/>
              <a:gd name="connsiteY6" fmla="*/ 5160852 h 5160852"/>
              <a:gd name="connsiteX7" fmla="*/ 0 w 3362588"/>
              <a:gd name="connsiteY7" fmla="*/ 5157595 h 5160852"/>
              <a:gd name="connsiteX8" fmla="*/ 2795 w 3362588"/>
              <a:gd name="connsiteY8" fmla="*/ 0 h 5160852"/>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6482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6482 w 3362588"/>
              <a:gd name="connsiteY8" fmla="*/ 0 h 5149790"/>
              <a:gd name="connsiteX0" fmla="*/ 6482 w 3362588"/>
              <a:gd name="connsiteY0" fmla="*/ 572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6482 w 3362588"/>
              <a:gd name="connsiteY8" fmla="*/ 572 h 5147187"/>
              <a:gd name="connsiteX0" fmla="*/ 132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132 w 3362588"/>
              <a:gd name="connsiteY8" fmla="*/ 3747 h 5147187"/>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3307 w 3362588"/>
              <a:gd name="connsiteY8" fmla="*/ 3747 h 5147187"/>
              <a:gd name="connsiteX0" fmla="*/ 3307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3307 w 3362588"/>
              <a:gd name="connsiteY8" fmla="*/ 0 h 514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2588" h="5149790">
                <a:moveTo>
                  <a:pt x="3307" y="0"/>
                </a:moveTo>
                <a:cubicBezTo>
                  <a:pt x="6994" y="4885"/>
                  <a:pt x="1651850" y="2603"/>
                  <a:pt x="1886626" y="2603"/>
                </a:cubicBezTo>
                <a:lnTo>
                  <a:pt x="3158848" y="1328017"/>
                </a:lnTo>
                <a:cubicBezTo>
                  <a:pt x="3415745" y="1619297"/>
                  <a:pt x="3382438" y="1827787"/>
                  <a:pt x="3312383" y="2099433"/>
                </a:cubicBezTo>
                <a:cubicBezTo>
                  <a:pt x="3139128" y="2654634"/>
                  <a:pt x="2781364" y="3951175"/>
                  <a:pt x="2688992" y="4227864"/>
                </a:cubicBezTo>
                <a:cubicBezTo>
                  <a:pt x="2582066" y="4525320"/>
                  <a:pt x="2475962" y="4619353"/>
                  <a:pt x="2137948" y="4722591"/>
                </a:cubicBezTo>
                <a:lnTo>
                  <a:pt x="379962" y="5149790"/>
                </a:lnTo>
                <a:cubicBezTo>
                  <a:pt x="384848" y="5146103"/>
                  <a:pt x="7374" y="5149022"/>
                  <a:pt x="0" y="5146533"/>
                </a:cubicBezTo>
                <a:cubicBezTo>
                  <a:pt x="3390" y="5151668"/>
                  <a:pt x="3605" y="9614"/>
                  <a:pt x="3307" y="0"/>
                </a:cubicBezTo>
                <a:close/>
              </a:path>
            </a:pathLst>
          </a:custGeom>
        </p:spPr>
        <p:txBody>
          <a:bodyPr anchor="ctr"/>
          <a:lstStyle>
            <a:lvl1pPr algn="ctr">
              <a:defRPr/>
            </a:lvl1pPr>
          </a:lstStyle>
          <a:p>
            <a:endParaRPr lang="en-US"/>
          </a:p>
        </p:txBody>
      </p:sp>
      <p:sp>
        <p:nvSpPr>
          <p:cNvPr id="5" name="Text Placeholder 2"/>
          <p:cNvSpPr>
            <a:spLocks noGrp="1"/>
          </p:cNvSpPr>
          <p:nvPr>
            <p:ph type="body" sz="quarter" idx="11"/>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10" name="Straight Connector 9"/>
          <p:cNvCxnSpPr/>
          <p:nvPr userDrawn="1"/>
        </p:nvCxnSpPr>
        <p:spPr>
          <a:xfrm>
            <a:off x="3594537" y="4314112"/>
            <a:ext cx="3806927"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1" name="Content Placeholder 2"/>
          <p:cNvSpPr>
            <a:spLocks noGrp="1"/>
          </p:cNvSpPr>
          <p:nvPr>
            <p:ph sz="half" idx="12" hasCustomPrompt="1"/>
          </p:nvPr>
        </p:nvSpPr>
        <p:spPr>
          <a:xfrm>
            <a:off x="3594537"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ext uri="{BB962C8B-B14F-4D97-AF65-F5344CB8AC3E}">
        <p14:creationId xmlns:p14="http://schemas.microsoft.com/office/powerpoint/2010/main" val="10336207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l="43713"/>
          <a:stretch/>
        </p:blipFill>
        <p:spPr>
          <a:xfrm>
            <a:off x="0" y="-18321"/>
            <a:ext cx="9144000" cy="5161823"/>
          </a:xfrm>
          <a:prstGeom prst="rect">
            <a:avLst/>
          </a:prstGeom>
        </p:spPr>
      </p:pic>
      <p:pic>
        <p:nvPicPr>
          <p:cNvPr id="4" name="Picture 3"/>
          <p:cNvPicPr>
            <a:picLocks noChangeAspect="1"/>
          </p:cNvPicPr>
          <p:nvPr userDrawn="1"/>
        </p:nvPicPr>
        <p:blipFill>
          <a:blip r:embed="rId3"/>
          <a:stretch>
            <a:fillRect/>
          </a:stretch>
        </p:blipFill>
        <p:spPr>
          <a:xfrm>
            <a:off x="434104" y="392127"/>
            <a:ext cx="617861" cy="617861"/>
          </a:xfrm>
          <a:prstGeom prst="rect">
            <a:avLst/>
          </a:prstGeom>
        </p:spPr>
      </p:pic>
      <p:sp>
        <p:nvSpPr>
          <p:cNvPr id="5" name="TextBox 4"/>
          <p:cNvSpPr txBox="1"/>
          <p:nvPr userDrawn="1"/>
        </p:nvSpPr>
        <p:spPr>
          <a:xfrm>
            <a:off x="321960" y="4313907"/>
            <a:ext cx="5233451" cy="523220"/>
          </a:xfrm>
          <a:prstGeom prst="rect">
            <a:avLst/>
          </a:prstGeom>
          <a:noFill/>
        </p:spPr>
        <p:txBody>
          <a:bodyPr wrap="square" rtlCol="0">
            <a:spAutoFit/>
          </a:bodyPr>
          <a:lstStyle/>
          <a:p>
            <a:r>
              <a:rPr lang="en-US" sz="1400" dirty="0" smtClean="0">
                <a:solidFill>
                  <a:schemeClr val="bg1"/>
                </a:solidFill>
                <a:latin typeface="Arial" charset="0"/>
                <a:ea typeface="Arial" charset="0"/>
                <a:cs typeface="Arial" charset="0"/>
              </a:rPr>
              <a:t>To download the full report please visit </a:t>
            </a:r>
          </a:p>
          <a:p>
            <a:r>
              <a:rPr lang="en-US" sz="1400" dirty="0" smtClean="0">
                <a:solidFill>
                  <a:schemeClr val="bg1"/>
                </a:solidFill>
                <a:latin typeface="Arial" charset="0"/>
                <a:ea typeface="Arial" charset="0"/>
                <a:cs typeface="Arial" charset="0"/>
              </a:rPr>
              <a:t>the GSMA website at </a:t>
            </a:r>
            <a:r>
              <a:rPr lang="en-US" sz="1400" b="1" dirty="0" err="1" smtClean="0">
                <a:solidFill>
                  <a:schemeClr val="bg1"/>
                </a:solidFill>
                <a:latin typeface="Arial" charset="0"/>
                <a:ea typeface="Arial" charset="0"/>
                <a:cs typeface="Arial" charset="0"/>
              </a:rPr>
              <a:t>www.gsma.com</a:t>
            </a:r>
            <a:r>
              <a:rPr lang="en-US" sz="1400" b="1" dirty="0" smtClean="0">
                <a:solidFill>
                  <a:schemeClr val="bg1"/>
                </a:solidFill>
                <a:latin typeface="Arial" charset="0"/>
                <a:ea typeface="Arial" charset="0"/>
                <a:cs typeface="Arial" charset="0"/>
              </a:rPr>
              <a:t>/</a:t>
            </a:r>
            <a:r>
              <a:rPr lang="en-US" sz="1400" b="1" dirty="0" err="1" smtClean="0">
                <a:solidFill>
                  <a:schemeClr val="bg1"/>
                </a:solidFill>
                <a:latin typeface="Arial" charset="0"/>
                <a:ea typeface="Arial" charset="0"/>
                <a:cs typeface="Arial" charset="0"/>
              </a:rPr>
              <a:t>sotir</a:t>
            </a:r>
            <a:endParaRPr lang="en-US" sz="1400" b="1"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1991975492"/>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l="43713"/>
          <a:stretch/>
        </p:blipFill>
        <p:spPr>
          <a:xfrm>
            <a:off x="0" y="-18321"/>
            <a:ext cx="9144000" cy="5161823"/>
          </a:xfrm>
          <a:prstGeom prst="rect">
            <a:avLst/>
          </a:prstGeom>
        </p:spPr>
      </p:pic>
      <p:pic>
        <p:nvPicPr>
          <p:cNvPr id="4" name="Picture 3"/>
          <p:cNvPicPr>
            <a:picLocks noChangeAspect="1"/>
          </p:cNvPicPr>
          <p:nvPr userDrawn="1"/>
        </p:nvPicPr>
        <p:blipFill>
          <a:blip r:embed="rId3"/>
          <a:stretch>
            <a:fillRect/>
          </a:stretch>
        </p:blipFill>
        <p:spPr>
          <a:xfrm>
            <a:off x="434104" y="392127"/>
            <a:ext cx="617861" cy="617861"/>
          </a:xfrm>
          <a:prstGeom prst="rect">
            <a:avLst/>
          </a:prstGeom>
        </p:spPr>
      </p:pic>
      <p:sp>
        <p:nvSpPr>
          <p:cNvPr id="5" name="TextBox 4"/>
          <p:cNvSpPr txBox="1"/>
          <p:nvPr userDrawn="1"/>
        </p:nvSpPr>
        <p:spPr>
          <a:xfrm>
            <a:off x="321960" y="4313907"/>
            <a:ext cx="5233451" cy="523220"/>
          </a:xfrm>
          <a:prstGeom prst="rect">
            <a:avLst/>
          </a:prstGeom>
          <a:noFill/>
        </p:spPr>
        <p:txBody>
          <a:bodyPr wrap="square" rtlCol="0">
            <a:spAutoFit/>
          </a:bodyPr>
          <a:lstStyle/>
          <a:p>
            <a:r>
              <a:rPr lang="en-US" sz="1400" dirty="0" smtClean="0">
                <a:solidFill>
                  <a:schemeClr val="bg1"/>
                </a:solidFill>
                <a:latin typeface="Arial" charset="0"/>
                <a:ea typeface="Arial" charset="0"/>
                <a:cs typeface="Arial" charset="0"/>
              </a:rPr>
              <a:t>To download the full report please visit </a:t>
            </a:r>
          </a:p>
          <a:p>
            <a:r>
              <a:rPr lang="en-US" sz="1400" dirty="0" smtClean="0">
                <a:solidFill>
                  <a:schemeClr val="bg1"/>
                </a:solidFill>
                <a:latin typeface="Arial" charset="0"/>
                <a:ea typeface="Arial" charset="0"/>
                <a:cs typeface="Arial" charset="0"/>
              </a:rPr>
              <a:t>the GSMA website at </a:t>
            </a:r>
            <a:r>
              <a:rPr lang="en-US" sz="1400" b="1" dirty="0" err="1" smtClean="0">
                <a:solidFill>
                  <a:schemeClr val="bg1"/>
                </a:solidFill>
                <a:latin typeface="Arial" charset="0"/>
                <a:ea typeface="Arial" charset="0"/>
                <a:cs typeface="Arial" charset="0"/>
              </a:rPr>
              <a:t>www.gsma.com</a:t>
            </a:r>
            <a:r>
              <a:rPr lang="en-US" sz="1400" b="1" dirty="0" smtClean="0">
                <a:solidFill>
                  <a:schemeClr val="bg1"/>
                </a:solidFill>
                <a:latin typeface="Arial" charset="0"/>
                <a:ea typeface="Arial" charset="0"/>
                <a:cs typeface="Arial" charset="0"/>
              </a:rPr>
              <a:t>/</a:t>
            </a:r>
            <a:r>
              <a:rPr lang="en-US" sz="1400" b="1" dirty="0" err="1" smtClean="0">
                <a:solidFill>
                  <a:schemeClr val="bg1"/>
                </a:solidFill>
                <a:latin typeface="Arial" charset="0"/>
                <a:ea typeface="Arial" charset="0"/>
                <a:cs typeface="Arial" charset="0"/>
              </a:rPr>
              <a:t>sotir</a:t>
            </a:r>
            <a:endParaRPr lang="en-US" sz="1400" b="1"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3036578714"/>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GSMA Title and Bullete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7544" y="1347614"/>
            <a:ext cx="8128882" cy="3185146"/>
          </a:xfrm>
          <a:prstGeom prst="rect">
            <a:avLst/>
          </a:prstGeom>
        </p:spPr>
        <p:txBody>
          <a:bodyPr/>
          <a:lstStyle>
            <a:lvl1pPr marL="342900" indent="-342900">
              <a:buClr>
                <a:srgbClr val="E30613"/>
              </a:buClr>
              <a:buSzPct val="90000"/>
              <a:buFont typeface="Wingdings" charset="2"/>
              <a:buChar char="§"/>
              <a:defRPr>
                <a:solidFill>
                  <a:schemeClr val="tx2"/>
                </a:solidFill>
              </a:defRPr>
            </a:lvl1pPr>
            <a:lvl2pPr marL="742950" indent="-285750">
              <a:buClr>
                <a:srgbClr val="E30613"/>
              </a:buClr>
              <a:buSzPct val="90000"/>
              <a:buFont typeface="Wingdings" charset="2"/>
              <a:buChar char="§"/>
              <a:defRPr>
                <a:solidFill>
                  <a:schemeClr val="tx2"/>
                </a:solidFill>
              </a:defRPr>
            </a:lvl2pPr>
            <a:lvl3pPr marL="1143000" indent="-228600">
              <a:buClr>
                <a:srgbClr val="E30613"/>
              </a:buClr>
              <a:buSzPct val="90000"/>
              <a:buFont typeface="Wingdings" charset="2"/>
              <a:buChar char="§"/>
              <a:defRPr>
                <a:solidFill>
                  <a:schemeClr val="tx2"/>
                </a:solidFill>
              </a:defRPr>
            </a:lvl3pPr>
            <a:lvl4pPr marL="1600200" indent="-228600">
              <a:buClr>
                <a:srgbClr val="E30613"/>
              </a:buClr>
              <a:buSzPct val="90000"/>
              <a:buFont typeface="Wingdings" charset="2"/>
              <a:buChar char="§"/>
              <a:defRPr>
                <a:solidFill>
                  <a:schemeClr val="tx2"/>
                </a:solidFill>
              </a:defRPr>
            </a:lvl4pPr>
            <a:lvl5pPr marL="2057400" indent="-228600">
              <a:buClr>
                <a:srgbClr val="E30613"/>
              </a:buClr>
              <a:buSzPct val="90000"/>
              <a:buFont typeface="Wingdings" charset="2"/>
              <a:buChar char="§"/>
              <a:defRPr>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Slide Number Placeholder 4"/>
          <p:cNvSpPr>
            <a:spLocks noGrp="1"/>
          </p:cNvSpPr>
          <p:nvPr>
            <p:ph type="sldNum" sz="quarter" idx="15"/>
          </p:nvPr>
        </p:nvSpPr>
        <p:spPr>
          <a:xfrm>
            <a:off x="420688" y="4826858"/>
            <a:ext cx="2133600" cy="273844"/>
          </a:xfrm>
        </p:spPr>
        <p:txBody>
          <a:bodyPr/>
          <a:lstStyle/>
          <a:p>
            <a:fld id="{E52D2AFC-71C4-4511-B128-4ECEE52D3027}" type="slidenum">
              <a:rPr lang="en-ZA" smtClean="0"/>
              <a:pPr/>
              <a:t>‹#›</a:t>
            </a:fld>
            <a:endParaRPr lang="en-ZA" dirty="0"/>
          </a:p>
        </p:txBody>
      </p:sp>
      <p:sp>
        <p:nvSpPr>
          <p:cNvPr id="5"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326926623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931641"/>
            <a:ext cx="4038600" cy="3393579"/>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648200" y="931641"/>
            <a:ext cx="4038600" cy="3393579"/>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8229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sp>
        <p:nvSpPr>
          <p:cNvPr id="5"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7" name="Straight Connector 6"/>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ext uri="{BB962C8B-B14F-4D97-AF65-F5344CB8AC3E}">
        <p14:creationId xmlns:p14="http://schemas.microsoft.com/office/powerpoint/2010/main" val="1508614027"/>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931641"/>
            <a:ext cx="4038600" cy="3276217"/>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8229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pic>
        <p:nvPicPr>
          <p:cNvPr id="5" name="Picture 4"/>
          <p:cNvPicPr>
            <a:picLocks noChangeAspect="1"/>
          </p:cNvPicPr>
          <p:nvPr userDrawn="1"/>
        </p:nvPicPr>
        <p:blipFill>
          <a:blip r:embed="rId2"/>
          <a:stretch>
            <a:fillRect/>
          </a:stretch>
        </p:blipFill>
        <p:spPr>
          <a:xfrm>
            <a:off x="4633587" y="931641"/>
            <a:ext cx="1490419" cy="1663602"/>
          </a:xfrm>
          <a:prstGeom prst="rect">
            <a:avLst/>
          </a:prstGeom>
        </p:spPr>
      </p:pic>
      <p:pic>
        <p:nvPicPr>
          <p:cNvPr id="7" name="Picture 6"/>
          <p:cNvPicPr>
            <a:picLocks noChangeAspect="1"/>
          </p:cNvPicPr>
          <p:nvPr userDrawn="1"/>
        </p:nvPicPr>
        <p:blipFill>
          <a:blip r:embed="rId3"/>
          <a:stretch>
            <a:fillRect/>
          </a:stretch>
        </p:blipFill>
        <p:spPr>
          <a:xfrm>
            <a:off x="6285515" y="931641"/>
            <a:ext cx="1490419" cy="1663602"/>
          </a:xfrm>
          <a:prstGeom prst="rect">
            <a:avLst/>
          </a:prstGeom>
        </p:spPr>
      </p:pic>
      <p:pic>
        <p:nvPicPr>
          <p:cNvPr id="10" name="Picture 9"/>
          <p:cNvPicPr>
            <a:picLocks noChangeAspect="1"/>
          </p:cNvPicPr>
          <p:nvPr userDrawn="1"/>
        </p:nvPicPr>
        <p:blipFill>
          <a:blip r:embed="rId3"/>
          <a:stretch>
            <a:fillRect/>
          </a:stretch>
        </p:blipFill>
        <p:spPr>
          <a:xfrm>
            <a:off x="5481116" y="2375686"/>
            <a:ext cx="1490419" cy="1663602"/>
          </a:xfrm>
          <a:prstGeom prst="rect">
            <a:avLst/>
          </a:prstGeom>
        </p:spPr>
      </p:pic>
      <p:pic>
        <p:nvPicPr>
          <p:cNvPr id="11" name="Picture 10"/>
          <p:cNvPicPr>
            <a:picLocks noChangeAspect="1"/>
          </p:cNvPicPr>
          <p:nvPr userDrawn="1"/>
        </p:nvPicPr>
        <p:blipFill>
          <a:blip r:embed="rId2"/>
          <a:stretch>
            <a:fillRect/>
          </a:stretch>
        </p:blipFill>
        <p:spPr>
          <a:xfrm>
            <a:off x="7117221" y="2369053"/>
            <a:ext cx="1490419" cy="1663602"/>
          </a:xfrm>
          <a:prstGeom prst="rect">
            <a:avLst/>
          </a:prstGeom>
        </p:spPr>
      </p:pic>
      <p:sp>
        <p:nvSpPr>
          <p:cNvPr id="12"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
        <p:nvSpPr>
          <p:cNvPr id="17" name="Text Placeholder 16"/>
          <p:cNvSpPr>
            <a:spLocks noGrp="1"/>
          </p:cNvSpPr>
          <p:nvPr>
            <p:ph type="body" sz="quarter" idx="12" hasCustomPrompt="1"/>
          </p:nvPr>
        </p:nvSpPr>
        <p:spPr>
          <a:xfrm>
            <a:off x="4633588" y="122770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18" name="Text Placeholder 16"/>
          <p:cNvSpPr>
            <a:spLocks noGrp="1"/>
          </p:cNvSpPr>
          <p:nvPr>
            <p:ph type="body" sz="quarter" idx="13" hasCustomPrompt="1"/>
          </p:nvPr>
        </p:nvSpPr>
        <p:spPr>
          <a:xfrm>
            <a:off x="6285516" y="122770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19" name="Text Placeholder 16"/>
          <p:cNvSpPr>
            <a:spLocks noGrp="1"/>
          </p:cNvSpPr>
          <p:nvPr>
            <p:ph type="body" sz="quarter" idx="14" hasCustomPrompt="1"/>
          </p:nvPr>
        </p:nvSpPr>
        <p:spPr>
          <a:xfrm>
            <a:off x="7117223" y="2665802"/>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20" name="Text Placeholder 16"/>
          <p:cNvSpPr>
            <a:spLocks noGrp="1"/>
          </p:cNvSpPr>
          <p:nvPr>
            <p:ph type="body" sz="quarter" idx="15" hasCustomPrompt="1"/>
          </p:nvPr>
        </p:nvSpPr>
        <p:spPr>
          <a:xfrm>
            <a:off x="5481117" y="267243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21" name="Text Placeholder 16"/>
          <p:cNvSpPr>
            <a:spLocks noGrp="1"/>
          </p:cNvSpPr>
          <p:nvPr>
            <p:ph type="body" sz="quarter" idx="16" hasCustomPrompt="1"/>
          </p:nvPr>
        </p:nvSpPr>
        <p:spPr>
          <a:xfrm>
            <a:off x="4633588" y="1882298"/>
            <a:ext cx="1490418" cy="600669"/>
          </a:xfrm>
          <a:prstGeom prst="rect">
            <a:avLst/>
          </a:prstGeom>
        </p:spPr>
        <p:txBody>
          <a:bodyPr/>
          <a:lstStyle>
            <a:lvl1pPr marL="0" indent="0" algn="ctr">
              <a:lnSpc>
                <a:spcPct val="70000"/>
              </a:lnSpc>
              <a:buFontTx/>
              <a:buNone/>
              <a:defRPr sz="700" b="0">
                <a:solidFill>
                  <a:schemeClr val="bg1"/>
                </a:solidFill>
              </a:defRPr>
            </a:lvl1pPr>
          </a:lstStyle>
          <a:p>
            <a:pPr lvl="0"/>
            <a:r>
              <a:rPr lang="en-US" dirty="0" smtClean="0"/>
              <a:t>26% customer activity rate among</a:t>
            </a:r>
            <a:endParaRPr lang="en-US" dirty="0"/>
          </a:p>
        </p:txBody>
      </p:sp>
      <p:sp>
        <p:nvSpPr>
          <p:cNvPr id="22" name="Text Placeholder 16"/>
          <p:cNvSpPr>
            <a:spLocks noGrp="1"/>
          </p:cNvSpPr>
          <p:nvPr>
            <p:ph type="body" sz="quarter" idx="17" hasCustomPrompt="1"/>
          </p:nvPr>
        </p:nvSpPr>
        <p:spPr>
          <a:xfrm>
            <a:off x="6285515" y="1882298"/>
            <a:ext cx="1490418" cy="600669"/>
          </a:xfrm>
          <a:prstGeom prst="rect">
            <a:avLst/>
          </a:prstGeom>
        </p:spPr>
        <p:txBody>
          <a:bodyPr/>
          <a:lstStyle>
            <a:lvl1pPr marL="0" indent="0" algn="ctr">
              <a:lnSpc>
                <a:spcPct val="70000"/>
              </a:lnSpc>
              <a:buFontTx/>
              <a:buNone/>
              <a:defRPr sz="700" b="0">
                <a:solidFill>
                  <a:srgbClr val="193C6C"/>
                </a:solidFill>
              </a:defRPr>
            </a:lvl1pPr>
          </a:lstStyle>
          <a:p>
            <a:pPr lvl="0"/>
            <a:r>
              <a:rPr lang="en-US" dirty="0" smtClean="0"/>
              <a:t>26% customer activity rate among</a:t>
            </a:r>
            <a:endParaRPr lang="en-US" dirty="0"/>
          </a:p>
        </p:txBody>
      </p:sp>
      <p:sp>
        <p:nvSpPr>
          <p:cNvPr id="23" name="Text Placeholder 16"/>
          <p:cNvSpPr>
            <a:spLocks noGrp="1"/>
          </p:cNvSpPr>
          <p:nvPr>
            <p:ph type="body" sz="quarter" idx="18" hasCustomPrompt="1"/>
          </p:nvPr>
        </p:nvSpPr>
        <p:spPr>
          <a:xfrm>
            <a:off x="7109322" y="3329190"/>
            <a:ext cx="1490418" cy="546063"/>
          </a:xfrm>
          <a:prstGeom prst="rect">
            <a:avLst/>
          </a:prstGeom>
        </p:spPr>
        <p:txBody>
          <a:bodyPr/>
          <a:lstStyle>
            <a:lvl1pPr marL="0" indent="0" algn="ctr">
              <a:lnSpc>
                <a:spcPct val="70000"/>
              </a:lnSpc>
              <a:buFontTx/>
              <a:buNone/>
              <a:defRPr sz="700" b="0">
                <a:solidFill>
                  <a:schemeClr val="bg1"/>
                </a:solidFill>
              </a:defRPr>
            </a:lvl1pPr>
          </a:lstStyle>
          <a:p>
            <a:pPr lvl="0"/>
            <a:r>
              <a:rPr lang="en-US" dirty="0" smtClean="0"/>
              <a:t>26% customer activity rate among</a:t>
            </a:r>
            <a:endParaRPr lang="en-US" dirty="0"/>
          </a:p>
        </p:txBody>
      </p:sp>
      <p:sp>
        <p:nvSpPr>
          <p:cNvPr id="24" name="Text Placeholder 16"/>
          <p:cNvSpPr>
            <a:spLocks noGrp="1"/>
          </p:cNvSpPr>
          <p:nvPr>
            <p:ph type="body" sz="quarter" idx="19" hasCustomPrompt="1"/>
          </p:nvPr>
        </p:nvSpPr>
        <p:spPr>
          <a:xfrm>
            <a:off x="5489017" y="3335823"/>
            <a:ext cx="1490418" cy="546063"/>
          </a:xfrm>
          <a:prstGeom prst="rect">
            <a:avLst/>
          </a:prstGeom>
        </p:spPr>
        <p:txBody>
          <a:bodyPr/>
          <a:lstStyle>
            <a:lvl1pPr marL="0" indent="0" algn="ctr">
              <a:lnSpc>
                <a:spcPct val="70000"/>
              </a:lnSpc>
              <a:buFontTx/>
              <a:buNone/>
              <a:defRPr sz="700" b="0">
                <a:solidFill>
                  <a:srgbClr val="193C6C"/>
                </a:solidFill>
              </a:defRPr>
            </a:lvl1pPr>
          </a:lstStyle>
          <a:p>
            <a:pPr lvl="0"/>
            <a:r>
              <a:rPr lang="en-US" dirty="0" smtClean="0"/>
              <a:t>26% customer activity rate among</a:t>
            </a:r>
            <a:endParaRPr lang="en-US" dirty="0"/>
          </a:p>
        </p:txBody>
      </p:sp>
    </p:spTree>
    <p:extLst>
      <p:ext uri="{BB962C8B-B14F-4D97-AF65-F5344CB8AC3E}">
        <p14:creationId xmlns:p14="http://schemas.microsoft.com/office/powerpoint/2010/main" val="2984032088"/>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a:xfrm>
            <a:off x="4735102" y="-618"/>
            <a:ext cx="4408897" cy="4905993"/>
          </a:xfrm>
          <a:custGeom>
            <a:avLst/>
            <a:gdLst>
              <a:gd name="connsiteX0" fmla="*/ 0 w 4391025"/>
              <a:gd name="connsiteY0" fmla="*/ 0 h 4905375"/>
              <a:gd name="connsiteX1" fmla="*/ 4391025 w 4391025"/>
              <a:gd name="connsiteY1" fmla="*/ 0 h 4905375"/>
              <a:gd name="connsiteX2" fmla="*/ 4391025 w 4391025"/>
              <a:gd name="connsiteY2" fmla="*/ 4905375 h 4905375"/>
              <a:gd name="connsiteX3" fmla="*/ 0 w 4391025"/>
              <a:gd name="connsiteY3" fmla="*/ 4905375 h 4905375"/>
              <a:gd name="connsiteX4" fmla="*/ 0 w 4391025"/>
              <a:gd name="connsiteY4" fmla="*/ 0 h 4905375"/>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906162 w 4391025"/>
              <a:gd name="connsiteY4"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809625 w 4391025"/>
              <a:gd name="connsiteY4" fmla="*/ 54163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687705 w 4391025"/>
              <a:gd name="connsiteY4" fmla="*/ 32827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432435 w 4391025"/>
              <a:gd name="connsiteY4" fmla="*/ 19970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32385 w 4391025"/>
              <a:gd name="connsiteY4" fmla="*/ 25685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7145 w 4391025"/>
              <a:gd name="connsiteY4" fmla="*/ 3475338 h 4913613"/>
              <a:gd name="connsiteX5" fmla="*/ 32385 w 4391025"/>
              <a:gd name="connsiteY5" fmla="*/ 2568558 h 4913613"/>
              <a:gd name="connsiteX6" fmla="*/ 687705 w 4391025"/>
              <a:gd name="connsiteY6" fmla="*/ 328278 h 4913613"/>
              <a:gd name="connsiteX7" fmla="*/ 906162 w 4391025"/>
              <a:gd name="connsiteY7"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27635 w 4391025"/>
              <a:gd name="connsiteY4" fmla="*/ 3220068 h 4913613"/>
              <a:gd name="connsiteX5" fmla="*/ 32385 w 4391025"/>
              <a:gd name="connsiteY5" fmla="*/ 2568558 h 4913613"/>
              <a:gd name="connsiteX6" fmla="*/ 687705 w 4391025"/>
              <a:gd name="connsiteY6" fmla="*/ 328278 h 4913613"/>
              <a:gd name="connsiteX7" fmla="*/ 906162 w 4391025"/>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5250 w 4358640"/>
              <a:gd name="connsiteY4" fmla="*/ 3220068 h 4913613"/>
              <a:gd name="connsiteX5" fmla="*/ 0 w 4358640"/>
              <a:gd name="connsiteY5" fmla="*/ 2568558 h 4913613"/>
              <a:gd name="connsiteX6" fmla="*/ 655320 w 4358640"/>
              <a:gd name="connsiteY6" fmla="*/ 328278 h 4913613"/>
              <a:gd name="connsiteX7" fmla="*/ 873777 w 4358640"/>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1440 w 4358640"/>
              <a:gd name="connsiteY4" fmla="*/ 3204828 h 4913613"/>
              <a:gd name="connsiteX5" fmla="*/ 0 w 4358640"/>
              <a:gd name="connsiteY5" fmla="*/ 2568558 h 4913613"/>
              <a:gd name="connsiteX6" fmla="*/ 655320 w 4358640"/>
              <a:gd name="connsiteY6" fmla="*/ 328278 h 4913613"/>
              <a:gd name="connsiteX7" fmla="*/ 873777 w 4358640"/>
              <a:gd name="connsiteY7" fmla="*/ 0 h 4913613"/>
              <a:gd name="connsiteX0" fmla="*/ 881147 w 4366010"/>
              <a:gd name="connsiteY0" fmla="*/ 0 h 4913613"/>
              <a:gd name="connsiteX1" fmla="*/ 4366010 w 4366010"/>
              <a:gd name="connsiteY1" fmla="*/ 8238 h 4913613"/>
              <a:gd name="connsiteX2" fmla="*/ 4366010 w 4366010"/>
              <a:gd name="connsiteY2" fmla="*/ 4913613 h 4913613"/>
              <a:gd name="connsiteX3" fmla="*/ 1617095 w 4366010"/>
              <a:gd name="connsiteY3" fmla="*/ 4780263 h 4913613"/>
              <a:gd name="connsiteX4" fmla="*/ 98810 w 4366010"/>
              <a:gd name="connsiteY4" fmla="*/ 3204828 h 4913613"/>
              <a:gd name="connsiteX5" fmla="*/ 7370 w 4366010"/>
              <a:gd name="connsiteY5" fmla="*/ 2568558 h 4913613"/>
              <a:gd name="connsiteX6" fmla="*/ 662690 w 4366010"/>
              <a:gd name="connsiteY6" fmla="*/ 328278 h 4913613"/>
              <a:gd name="connsiteX7" fmla="*/ 881147 w 4366010"/>
              <a:gd name="connsiteY7" fmla="*/ 0 h 4913613"/>
              <a:gd name="connsiteX0" fmla="*/ 915784 w 4400647"/>
              <a:gd name="connsiteY0" fmla="*/ 0 h 4913613"/>
              <a:gd name="connsiteX1" fmla="*/ 4400647 w 4400647"/>
              <a:gd name="connsiteY1" fmla="*/ 8238 h 4913613"/>
              <a:gd name="connsiteX2" fmla="*/ 4400647 w 4400647"/>
              <a:gd name="connsiteY2" fmla="*/ 4913613 h 4913613"/>
              <a:gd name="connsiteX3" fmla="*/ 1651732 w 4400647"/>
              <a:gd name="connsiteY3" fmla="*/ 4780263 h 4913613"/>
              <a:gd name="connsiteX4" fmla="*/ 133447 w 4400647"/>
              <a:gd name="connsiteY4" fmla="*/ 3204828 h 4913613"/>
              <a:gd name="connsiteX5" fmla="*/ 42007 w 4400647"/>
              <a:gd name="connsiteY5" fmla="*/ 2568558 h 4913613"/>
              <a:gd name="connsiteX6" fmla="*/ 697327 w 4400647"/>
              <a:gd name="connsiteY6" fmla="*/ 328278 h 4913613"/>
              <a:gd name="connsiteX7" fmla="*/ 915784 w 4400647"/>
              <a:gd name="connsiteY7" fmla="*/ 0 h 491361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28216 w 4397839"/>
              <a:gd name="connsiteY0" fmla="*/ 0 h 4905993"/>
              <a:gd name="connsiteX1" fmla="*/ 4397839 w 4397839"/>
              <a:gd name="connsiteY1" fmla="*/ 618 h 4905993"/>
              <a:gd name="connsiteX2" fmla="*/ 4397839 w 4397839"/>
              <a:gd name="connsiteY2" fmla="*/ 4905993 h 4905993"/>
              <a:gd name="connsiteX3" fmla="*/ 1648924 w 4397839"/>
              <a:gd name="connsiteY3" fmla="*/ 4772643 h 4905993"/>
              <a:gd name="connsiteX4" fmla="*/ 138259 w 4397839"/>
              <a:gd name="connsiteY4" fmla="*/ 3208638 h 4905993"/>
              <a:gd name="connsiteX5" fmla="*/ 39199 w 4397839"/>
              <a:gd name="connsiteY5" fmla="*/ 2560938 h 4905993"/>
              <a:gd name="connsiteX6" fmla="*/ 694519 w 4397839"/>
              <a:gd name="connsiteY6" fmla="*/ 320658 h 4905993"/>
              <a:gd name="connsiteX7" fmla="*/ 928216 w 4397839"/>
              <a:gd name="connsiteY7" fmla="*/ 0 h 4905993"/>
              <a:gd name="connsiteX0" fmla="*/ 931629 w 4401252"/>
              <a:gd name="connsiteY0" fmla="*/ 0 h 4905993"/>
              <a:gd name="connsiteX1" fmla="*/ 4401252 w 4401252"/>
              <a:gd name="connsiteY1" fmla="*/ 618 h 4905993"/>
              <a:gd name="connsiteX2" fmla="*/ 4401252 w 4401252"/>
              <a:gd name="connsiteY2" fmla="*/ 4905993 h 4905993"/>
              <a:gd name="connsiteX3" fmla="*/ 1652337 w 4401252"/>
              <a:gd name="connsiteY3" fmla="*/ 4772643 h 4905993"/>
              <a:gd name="connsiteX4" fmla="*/ 141672 w 4401252"/>
              <a:gd name="connsiteY4" fmla="*/ 3208638 h 4905993"/>
              <a:gd name="connsiteX5" fmla="*/ 42612 w 4401252"/>
              <a:gd name="connsiteY5" fmla="*/ 2560938 h 4905993"/>
              <a:gd name="connsiteX6" fmla="*/ 697932 w 4401252"/>
              <a:gd name="connsiteY6" fmla="*/ 320658 h 4905993"/>
              <a:gd name="connsiteX7" fmla="*/ 931629 w 4401252"/>
              <a:gd name="connsiteY7" fmla="*/ 0 h 4905993"/>
              <a:gd name="connsiteX0" fmla="*/ 937706 w 4407329"/>
              <a:gd name="connsiteY0" fmla="*/ 0 h 4905993"/>
              <a:gd name="connsiteX1" fmla="*/ 4407329 w 4407329"/>
              <a:gd name="connsiteY1" fmla="*/ 618 h 4905993"/>
              <a:gd name="connsiteX2" fmla="*/ 4407329 w 4407329"/>
              <a:gd name="connsiteY2" fmla="*/ 4905993 h 4905993"/>
              <a:gd name="connsiteX3" fmla="*/ 1658414 w 4407329"/>
              <a:gd name="connsiteY3" fmla="*/ 4772643 h 4905993"/>
              <a:gd name="connsiteX4" fmla="*/ 147749 w 4407329"/>
              <a:gd name="connsiteY4" fmla="*/ 3208638 h 4905993"/>
              <a:gd name="connsiteX5" fmla="*/ 48689 w 4407329"/>
              <a:gd name="connsiteY5" fmla="*/ 2560938 h 4905993"/>
              <a:gd name="connsiteX6" fmla="*/ 704009 w 4407329"/>
              <a:gd name="connsiteY6" fmla="*/ 320658 h 4905993"/>
              <a:gd name="connsiteX7" fmla="*/ 937706 w 4407329"/>
              <a:gd name="connsiteY7" fmla="*/ 0 h 4905993"/>
              <a:gd name="connsiteX0" fmla="*/ 939274 w 4408897"/>
              <a:gd name="connsiteY0" fmla="*/ 0 h 4905993"/>
              <a:gd name="connsiteX1" fmla="*/ 4408897 w 4408897"/>
              <a:gd name="connsiteY1" fmla="*/ 618 h 4905993"/>
              <a:gd name="connsiteX2" fmla="*/ 4408897 w 4408897"/>
              <a:gd name="connsiteY2" fmla="*/ 4905993 h 4905993"/>
              <a:gd name="connsiteX3" fmla="*/ 1659982 w 4408897"/>
              <a:gd name="connsiteY3" fmla="*/ 4772643 h 4905993"/>
              <a:gd name="connsiteX4" fmla="*/ 149317 w 4408897"/>
              <a:gd name="connsiteY4" fmla="*/ 3208638 h 4905993"/>
              <a:gd name="connsiteX5" fmla="*/ 50257 w 4408897"/>
              <a:gd name="connsiteY5" fmla="*/ 2560938 h 4905993"/>
              <a:gd name="connsiteX6" fmla="*/ 705577 w 4408897"/>
              <a:gd name="connsiteY6" fmla="*/ 320658 h 4905993"/>
              <a:gd name="connsiteX7" fmla="*/ 939274 w 4408897"/>
              <a:gd name="connsiteY7" fmla="*/ 0 h 490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8897" h="4905993">
                <a:moveTo>
                  <a:pt x="939274" y="0"/>
                </a:moveTo>
                <a:lnTo>
                  <a:pt x="4408897" y="618"/>
                </a:lnTo>
                <a:lnTo>
                  <a:pt x="4408897" y="4905993"/>
                </a:lnTo>
                <a:lnTo>
                  <a:pt x="1659982" y="4772643"/>
                </a:lnTo>
                <a:lnTo>
                  <a:pt x="149317" y="3208638"/>
                </a:lnTo>
                <a:cubicBezTo>
                  <a:pt x="-52613" y="2977498"/>
                  <a:pt x="-10703" y="2757788"/>
                  <a:pt x="50257" y="2560938"/>
                </a:cubicBezTo>
                <a:lnTo>
                  <a:pt x="705577" y="320658"/>
                </a:lnTo>
                <a:cubicBezTo>
                  <a:pt x="752996" y="183292"/>
                  <a:pt x="823275" y="91646"/>
                  <a:pt x="939274" y="0"/>
                </a:cubicBezTo>
                <a:close/>
              </a:path>
            </a:pathLst>
          </a:custGeom>
        </p:spPr>
        <p:txBody>
          <a:bodyPr anchor="ctr"/>
          <a:lstStyle>
            <a:lvl1pPr algn="ctr">
              <a:defRPr/>
            </a:lvl1pPr>
          </a:lstStyle>
          <a:p>
            <a:endParaRPr lang="en-US" dirty="0"/>
          </a:p>
        </p:txBody>
      </p:sp>
      <p:sp>
        <p:nvSpPr>
          <p:cNvPr id="3" name="Content Placeholder 2"/>
          <p:cNvSpPr>
            <a:spLocks noGrp="1"/>
          </p:cNvSpPr>
          <p:nvPr>
            <p:ph sz="half" idx="1"/>
          </p:nvPr>
        </p:nvSpPr>
        <p:spPr>
          <a:xfrm>
            <a:off x="457200" y="931641"/>
            <a:ext cx="4038600" cy="3276217"/>
          </a:xfrm>
          <a:prstGeom prst="rect">
            <a:avLst/>
          </a:prstGeom>
        </p:spPr>
        <p:txBody>
          <a:bodyPr>
            <a:normAutofit/>
          </a:bodyPr>
          <a:lstStyle>
            <a:lvl1pPr marL="257175" indent="-257175">
              <a:buClr>
                <a:srgbClr val="00ACD4"/>
              </a:buClr>
              <a:buFont typeface="Arial" charset="0"/>
              <a:buChar char="•"/>
              <a:defRPr sz="1300">
                <a:solidFill>
                  <a:schemeClr val="tx1"/>
                </a:solidFill>
              </a:defRPr>
            </a:lvl1pPr>
            <a:lvl2pPr marL="557213" indent="-214313">
              <a:buClr>
                <a:srgbClr val="00ACD4"/>
              </a:buClr>
              <a:buFont typeface="Arial" charset="0"/>
              <a:buChar char="•"/>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2"/>
            <a:ext cx="4038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pic>
        <p:nvPicPr>
          <p:cNvPr id="16" name="Picture 15"/>
          <p:cNvPicPr>
            <a:picLocks noChangeAspect="1"/>
          </p:cNvPicPr>
          <p:nvPr userDrawn="1"/>
        </p:nvPicPr>
        <p:blipFill>
          <a:blip r:embed="rId2"/>
          <a:stretch>
            <a:fillRect/>
          </a:stretch>
        </p:blipFill>
        <p:spPr>
          <a:xfrm>
            <a:off x="5874818" y="4276166"/>
            <a:ext cx="3269181" cy="867334"/>
          </a:xfrm>
          <a:prstGeom prst="rect">
            <a:avLst/>
          </a:prstGeom>
        </p:spPr>
      </p:pic>
      <p:sp>
        <p:nvSpPr>
          <p:cNvPr id="17" name="Text Placeholder 2"/>
          <p:cNvSpPr>
            <a:spLocks noGrp="1"/>
          </p:cNvSpPr>
          <p:nvPr>
            <p:ph type="body" sz="quarter" idx="10"/>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spTree>
    <p:extLst>
      <p:ext uri="{BB962C8B-B14F-4D97-AF65-F5344CB8AC3E}">
        <p14:creationId xmlns:p14="http://schemas.microsoft.com/office/powerpoint/2010/main" val="63602475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3594537" y="1366081"/>
            <a:ext cx="4595647" cy="3142844"/>
          </a:xfrm>
          <a:prstGeom prst="rect">
            <a:avLst/>
          </a:prstGeom>
        </p:spPr>
        <p:txBody>
          <a:bodyPr vert="horz" lIns="91440" tIns="45720" rIns="91440" bIns="45720" rtlCol="0">
            <a:noAutofit/>
          </a:bodyPr>
          <a:lstStyle>
            <a:lvl1pPr marL="0" indent="0">
              <a:buNone/>
              <a:defRPr sz="900" baseline="0">
                <a:solidFill>
                  <a:schemeClr val="tx1"/>
                </a:solidFill>
              </a:defRPr>
            </a:lvl1pPr>
          </a:lstStyle>
          <a:p>
            <a:pPr lvl="0"/>
            <a:r>
              <a:rPr lang="en-JM" dirty="0"/>
              <a:t>Click to insert content</a:t>
            </a:r>
          </a:p>
        </p:txBody>
      </p:sp>
      <p:sp>
        <p:nvSpPr>
          <p:cNvPr id="8" name="Title Placeholder 1"/>
          <p:cNvSpPr>
            <a:spLocks noGrp="1"/>
          </p:cNvSpPr>
          <p:nvPr>
            <p:ph type="title"/>
          </p:nvPr>
        </p:nvSpPr>
        <p:spPr>
          <a:xfrm>
            <a:off x="3594537" y="864630"/>
            <a:ext cx="4595647" cy="432049"/>
          </a:xfrm>
          <a:prstGeom prst="rect">
            <a:avLst/>
          </a:prstGeom>
        </p:spPr>
        <p:txBody>
          <a:bodyPr vert="horz" lIns="91440" tIns="45720" rIns="91440" bIns="45720" rtlCol="0" anchor="t" anchorCtr="0">
            <a:normAutofit/>
          </a:bodyPr>
          <a:lstStyle>
            <a:lvl1pPr>
              <a:defRPr sz="2000">
                <a:solidFill>
                  <a:srgbClr val="00ACD4"/>
                </a:solidFill>
              </a:defRPr>
            </a:lvl1pPr>
          </a:lstStyle>
          <a:p>
            <a:r>
              <a:rPr lang="en-US" dirty="0"/>
              <a:t>Click to edit Master title style</a:t>
            </a:r>
            <a:endParaRPr lang="en-JM" dirty="0"/>
          </a:p>
        </p:txBody>
      </p:sp>
      <p:sp>
        <p:nvSpPr>
          <p:cNvPr id="13" name="Picture Placeholder 12"/>
          <p:cNvSpPr>
            <a:spLocks noGrp="1"/>
          </p:cNvSpPr>
          <p:nvPr>
            <p:ph type="pic" sz="quarter" idx="10"/>
          </p:nvPr>
        </p:nvSpPr>
        <p:spPr>
          <a:xfrm>
            <a:off x="-2796" y="-2604"/>
            <a:ext cx="3362588" cy="5149790"/>
          </a:xfrm>
          <a:custGeom>
            <a:avLst/>
            <a:gdLst>
              <a:gd name="connsiteX0" fmla="*/ 0 w 3359150"/>
              <a:gd name="connsiteY0" fmla="*/ 425100 h 5143500"/>
              <a:gd name="connsiteX1" fmla="*/ 425100 w 3359150"/>
              <a:gd name="connsiteY1" fmla="*/ 0 h 5143500"/>
              <a:gd name="connsiteX2" fmla="*/ 2934050 w 3359150"/>
              <a:gd name="connsiteY2" fmla="*/ 0 h 5143500"/>
              <a:gd name="connsiteX3" fmla="*/ 3359150 w 3359150"/>
              <a:gd name="connsiteY3" fmla="*/ 42510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2934050 w 3359150"/>
              <a:gd name="connsiteY2" fmla="*/ 0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1917015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3261309 w 3686409"/>
              <a:gd name="connsiteY5" fmla="*/ 5143500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2462412 w 3686409"/>
              <a:gd name="connsiteY5" fmla="*/ 4719988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67333"/>
              <a:gd name="connsiteY0" fmla="*/ 425100 h 5143500"/>
              <a:gd name="connsiteX1" fmla="*/ 2244274 w 3667333"/>
              <a:gd name="connsiteY1" fmla="*/ 0 h 5143500"/>
              <a:gd name="connsiteX2" fmla="*/ 3509121 w 3667333"/>
              <a:gd name="connsiteY2" fmla="*/ 1358598 h 5143500"/>
              <a:gd name="connsiteX3" fmla="*/ 3647908 w 3667333"/>
              <a:gd name="connsiteY3" fmla="*/ 2071020 h 5143500"/>
              <a:gd name="connsiteX4" fmla="*/ 3031891 w 3667333"/>
              <a:gd name="connsiteY4" fmla="*/ 4217886 h 5143500"/>
              <a:gd name="connsiteX5" fmla="*/ 2462412 w 3667333"/>
              <a:gd name="connsiteY5" fmla="*/ 4719988 h 5143500"/>
              <a:gd name="connsiteX6" fmla="*/ 752359 w 3667333"/>
              <a:gd name="connsiteY6" fmla="*/ 5143500 h 5143500"/>
              <a:gd name="connsiteX7" fmla="*/ 0 w 3667333"/>
              <a:gd name="connsiteY7" fmla="*/ 3447865 h 5143500"/>
              <a:gd name="connsiteX8" fmla="*/ 327259 w 3667333"/>
              <a:gd name="connsiteY8" fmla="*/ 425100 h 5143500"/>
              <a:gd name="connsiteX0" fmla="*/ 327259 w 3691611"/>
              <a:gd name="connsiteY0" fmla="*/ 425100 h 5143500"/>
              <a:gd name="connsiteX1" fmla="*/ 2244274 w 3691611"/>
              <a:gd name="connsiteY1" fmla="*/ 0 h 5143500"/>
              <a:gd name="connsiteX2" fmla="*/ 3509121 w 3691611"/>
              <a:gd name="connsiteY2" fmla="*/ 1358598 h 5143500"/>
              <a:gd name="connsiteX3" fmla="*/ 3647908 w 3691611"/>
              <a:gd name="connsiteY3" fmla="*/ 2071020 h 5143500"/>
              <a:gd name="connsiteX4" fmla="*/ 3031891 w 3691611"/>
              <a:gd name="connsiteY4" fmla="*/ 4217886 h 5143500"/>
              <a:gd name="connsiteX5" fmla="*/ 2462412 w 3691611"/>
              <a:gd name="connsiteY5" fmla="*/ 4719988 h 5143500"/>
              <a:gd name="connsiteX6" fmla="*/ 752359 w 3691611"/>
              <a:gd name="connsiteY6" fmla="*/ 5143500 h 5143500"/>
              <a:gd name="connsiteX7" fmla="*/ 0 w 3691611"/>
              <a:gd name="connsiteY7" fmla="*/ 3447865 h 5143500"/>
              <a:gd name="connsiteX8" fmla="*/ 327259 w 3691611"/>
              <a:gd name="connsiteY8" fmla="*/ 425100 h 5143500"/>
              <a:gd name="connsiteX0" fmla="*/ 327259 w 3686530"/>
              <a:gd name="connsiteY0" fmla="*/ 425100 h 5143500"/>
              <a:gd name="connsiteX1" fmla="*/ 2244274 w 3686530"/>
              <a:gd name="connsiteY1" fmla="*/ 0 h 5143500"/>
              <a:gd name="connsiteX2" fmla="*/ 3509121 w 3686530"/>
              <a:gd name="connsiteY2" fmla="*/ 1358598 h 5143500"/>
              <a:gd name="connsiteX3" fmla="*/ 3636847 w 3686530"/>
              <a:gd name="connsiteY3" fmla="*/ 2096830 h 5143500"/>
              <a:gd name="connsiteX4" fmla="*/ 3031891 w 3686530"/>
              <a:gd name="connsiteY4" fmla="*/ 4217886 h 5143500"/>
              <a:gd name="connsiteX5" fmla="*/ 2462412 w 3686530"/>
              <a:gd name="connsiteY5" fmla="*/ 4719988 h 5143500"/>
              <a:gd name="connsiteX6" fmla="*/ 752359 w 3686530"/>
              <a:gd name="connsiteY6" fmla="*/ 5143500 h 5143500"/>
              <a:gd name="connsiteX7" fmla="*/ 0 w 3686530"/>
              <a:gd name="connsiteY7" fmla="*/ 3447865 h 5143500"/>
              <a:gd name="connsiteX8" fmla="*/ 327259 w 3686530"/>
              <a:gd name="connsiteY8" fmla="*/ 425100 h 5143500"/>
              <a:gd name="connsiteX0" fmla="*/ 327259 w 3703888"/>
              <a:gd name="connsiteY0" fmla="*/ 425100 h 5143500"/>
              <a:gd name="connsiteX1" fmla="*/ 2244274 w 3703888"/>
              <a:gd name="connsiteY1" fmla="*/ 0 h 5143500"/>
              <a:gd name="connsiteX2" fmla="*/ 3509121 w 3703888"/>
              <a:gd name="connsiteY2" fmla="*/ 1358598 h 5143500"/>
              <a:gd name="connsiteX3" fmla="*/ 3636847 w 3703888"/>
              <a:gd name="connsiteY3" fmla="*/ 2096830 h 5143500"/>
              <a:gd name="connsiteX4" fmla="*/ 3031891 w 3703888"/>
              <a:gd name="connsiteY4" fmla="*/ 4217886 h 5143500"/>
              <a:gd name="connsiteX5" fmla="*/ 2462412 w 3703888"/>
              <a:gd name="connsiteY5" fmla="*/ 4719988 h 5143500"/>
              <a:gd name="connsiteX6" fmla="*/ 752359 w 3703888"/>
              <a:gd name="connsiteY6" fmla="*/ 5143500 h 5143500"/>
              <a:gd name="connsiteX7" fmla="*/ 0 w 3703888"/>
              <a:gd name="connsiteY7" fmla="*/ 3447865 h 5143500"/>
              <a:gd name="connsiteX8" fmla="*/ 327259 w 3703888"/>
              <a:gd name="connsiteY8" fmla="*/ 425100 h 5143500"/>
              <a:gd name="connsiteX0" fmla="*/ 327259 w 3682668"/>
              <a:gd name="connsiteY0" fmla="*/ 425100 h 5143500"/>
              <a:gd name="connsiteX1" fmla="*/ 2244274 w 3682668"/>
              <a:gd name="connsiteY1" fmla="*/ 0 h 5143500"/>
              <a:gd name="connsiteX2" fmla="*/ 3461189 w 3682668"/>
              <a:gd name="connsiteY2" fmla="*/ 1310666 h 5143500"/>
              <a:gd name="connsiteX3" fmla="*/ 3636847 w 3682668"/>
              <a:gd name="connsiteY3" fmla="*/ 2096830 h 5143500"/>
              <a:gd name="connsiteX4" fmla="*/ 3031891 w 3682668"/>
              <a:gd name="connsiteY4" fmla="*/ 4217886 h 5143500"/>
              <a:gd name="connsiteX5" fmla="*/ 2462412 w 3682668"/>
              <a:gd name="connsiteY5" fmla="*/ 4719988 h 5143500"/>
              <a:gd name="connsiteX6" fmla="*/ 752359 w 3682668"/>
              <a:gd name="connsiteY6" fmla="*/ 5143500 h 5143500"/>
              <a:gd name="connsiteX7" fmla="*/ 0 w 3682668"/>
              <a:gd name="connsiteY7" fmla="*/ 3447865 h 5143500"/>
              <a:gd name="connsiteX8" fmla="*/ 327259 w 3682668"/>
              <a:gd name="connsiteY8" fmla="*/ 425100 h 5143500"/>
              <a:gd name="connsiteX0" fmla="*/ 327259 w 3693650"/>
              <a:gd name="connsiteY0" fmla="*/ 425100 h 5143500"/>
              <a:gd name="connsiteX1" fmla="*/ 2244274 w 3693650"/>
              <a:gd name="connsiteY1" fmla="*/ 0 h 5143500"/>
              <a:gd name="connsiteX2" fmla="*/ 3461189 w 3693650"/>
              <a:gd name="connsiteY2" fmla="*/ 1310666 h 5143500"/>
              <a:gd name="connsiteX3" fmla="*/ 3636847 w 3693650"/>
              <a:gd name="connsiteY3" fmla="*/ 2096830 h 5143500"/>
              <a:gd name="connsiteX4" fmla="*/ 3031891 w 3693650"/>
              <a:gd name="connsiteY4" fmla="*/ 4217886 h 5143500"/>
              <a:gd name="connsiteX5" fmla="*/ 2462412 w 3693650"/>
              <a:gd name="connsiteY5" fmla="*/ 4719988 h 5143500"/>
              <a:gd name="connsiteX6" fmla="*/ 752359 w 3693650"/>
              <a:gd name="connsiteY6" fmla="*/ 5143500 h 5143500"/>
              <a:gd name="connsiteX7" fmla="*/ 0 w 3693650"/>
              <a:gd name="connsiteY7" fmla="*/ 3447865 h 5143500"/>
              <a:gd name="connsiteX8" fmla="*/ 327259 w 3693650"/>
              <a:gd name="connsiteY8" fmla="*/ 425100 h 5143500"/>
              <a:gd name="connsiteX0" fmla="*/ 327259 w 3688927"/>
              <a:gd name="connsiteY0" fmla="*/ 425100 h 5143500"/>
              <a:gd name="connsiteX1" fmla="*/ 2244274 w 3688927"/>
              <a:gd name="connsiteY1" fmla="*/ 0 h 5143500"/>
              <a:gd name="connsiteX2" fmla="*/ 3461189 w 3688927"/>
              <a:gd name="connsiteY2" fmla="*/ 1310666 h 5143500"/>
              <a:gd name="connsiteX3" fmla="*/ 3636847 w 3688927"/>
              <a:gd name="connsiteY3" fmla="*/ 2096830 h 5143500"/>
              <a:gd name="connsiteX4" fmla="*/ 3031891 w 3688927"/>
              <a:gd name="connsiteY4" fmla="*/ 4217886 h 5143500"/>
              <a:gd name="connsiteX5" fmla="*/ 2462412 w 3688927"/>
              <a:gd name="connsiteY5" fmla="*/ 4719988 h 5143500"/>
              <a:gd name="connsiteX6" fmla="*/ 752359 w 3688927"/>
              <a:gd name="connsiteY6" fmla="*/ 5143500 h 5143500"/>
              <a:gd name="connsiteX7" fmla="*/ 0 w 3688927"/>
              <a:gd name="connsiteY7" fmla="*/ 3447865 h 5143500"/>
              <a:gd name="connsiteX8" fmla="*/ 327259 w 3688927"/>
              <a:gd name="connsiteY8" fmla="*/ 425100 h 5143500"/>
              <a:gd name="connsiteX0" fmla="*/ 327259 w 3693208"/>
              <a:gd name="connsiteY0" fmla="*/ 425100 h 5143500"/>
              <a:gd name="connsiteX1" fmla="*/ 2244274 w 3693208"/>
              <a:gd name="connsiteY1" fmla="*/ 0 h 5143500"/>
              <a:gd name="connsiteX2" fmla="*/ 3472251 w 3693208"/>
              <a:gd name="connsiteY2" fmla="*/ 1318040 h 5143500"/>
              <a:gd name="connsiteX3" fmla="*/ 3636847 w 3693208"/>
              <a:gd name="connsiteY3" fmla="*/ 2096830 h 5143500"/>
              <a:gd name="connsiteX4" fmla="*/ 3031891 w 3693208"/>
              <a:gd name="connsiteY4" fmla="*/ 4217886 h 5143500"/>
              <a:gd name="connsiteX5" fmla="*/ 2462412 w 3693208"/>
              <a:gd name="connsiteY5" fmla="*/ 4719988 h 5143500"/>
              <a:gd name="connsiteX6" fmla="*/ 752359 w 3693208"/>
              <a:gd name="connsiteY6" fmla="*/ 5143500 h 5143500"/>
              <a:gd name="connsiteX7" fmla="*/ 0 w 3693208"/>
              <a:gd name="connsiteY7" fmla="*/ 3447865 h 5143500"/>
              <a:gd name="connsiteX8" fmla="*/ 327259 w 3693208"/>
              <a:gd name="connsiteY8" fmla="*/ 425100 h 5143500"/>
              <a:gd name="connsiteX0" fmla="*/ 327259 w 3689737"/>
              <a:gd name="connsiteY0" fmla="*/ 425100 h 5143500"/>
              <a:gd name="connsiteX1" fmla="*/ 2244274 w 3689737"/>
              <a:gd name="connsiteY1" fmla="*/ 0 h 5143500"/>
              <a:gd name="connsiteX2" fmla="*/ 3472251 w 3689737"/>
              <a:gd name="connsiteY2" fmla="*/ 1318040 h 5143500"/>
              <a:gd name="connsiteX3" fmla="*/ 3636847 w 3689737"/>
              <a:gd name="connsiteY3" fmla="*/ 2096830 h 5143500"/>
              <a:gd name="connsiteX4" fmla="*/ 3031891 w 3689737"/>
              <a:gd name="connsiteY4" fmla="*/ 4217886 h 5143500"/>
              <a:gd name="connsiteX5" fmla="*/ 2462412 w 3689737"/>
              <a:gd name="connsiteY5" fmla="*/ 4719988 h 5143500"/>
              <a:gd name="connsiteX6" fmla="*/ 752359 w 3689737"/>
              <a:gd name="connsiteY6" fmla="*/ 5143500 h 5143500"/>
              <a:gd name="connsiteX7" fmla="*/ 0 w 3689737"/>
              <a:gd name="connsiteY7" fmla="*/ 3447865 h 5143500"/>
              <a:gd name="connsiteX8" fmla="*/ 327259 w 3689737"/>
              <a:gd name="connsiteY8" fmla="*/ 425100 h 5143500"/>
              <a:gd name="connsiteX0" fmla="*/ 327259 w 3692863"/>
              <a:gd name="connsiteY0" fmla="*/ 425100 h 5143500"/>
              <a:gd name="connsiteX1" fmla="*/ 2244274 w 3692863"/>
              <a:gd name="connsiteY1" fmla="*/ 0 h 5143500"/>
              <a:gd name="connsiteX2" fmla="*/ 3472251 w 3692863"/>
              <a:gd name="connsiteY2" fmla="*/ 1318040 h 5143500"/>
              <a:gd name="connsiteX3" fmla="*/ 3636847 w 3692863"/>
              <a:gd name="connsiteY3" fmla="*/ 2096830 h 5143500"/>
              <a:gd name="connsiteX4" fmla="*/ 3031891 w 3692863"/>
              <a:gd name="connsiteY4" fmla="*/ 4217886 h 5143500"/>
              <a:gd name="connsiteX5" fmla="*/ 2462412 w 3692863"/>
              <a:gd name="connsiteY5" fmla="*/ 4719988 h 5143500"/>
              <a:gd name="connsiteX6" fmla="*/ 752359 w 3692863"/>
              <a:gd name="connsiteY6" fmla="*/ 5143500 h 5143500"/>
              <a:gd name="connsiteX7" fmla="*/ 0 w 3692863"/>
              <a:gd name="connsiteY7" fmla="*/ 3447865 h 5143500"/>
              <a:gd name="connsiteX8" fmla="*/ 327259 w 3692863"/>
              <a:gd name="connsiteY8" fmla="*/ 425100 h 5143500"/>
              <a:gd name="connsiteX0" fmla="*/ 327259 w 3697188"/>
              <a:gd name="connsiteY0" fmla="*/ 425100 h 5143500"/>
              <a:gd name="connsiteX1" fmla="*/ 2244274 w 3697188"/>
              <a:gd name="connsiteY1" fmla="*/ 0 h 5143500"/>
              <a:gd name="connsiteX2" fmla="*/ 3483312 w 3697188"/>
              <a:gd name="connsiteY2" fmla="*/ 1325414 h 5143500"/>
              <a:gd name="connsiteX3" fmla="*/ 3636847 w 3697188"/>
              <a:gd name="connsiteY3" fmla="*/ 2096830 h 5143500"/>
              <a:gd name="connsiteX4" fmla="*/ 3031891 w 3697188"/>
              <a:gd name="connsiteY4" fmla="*/ 4217886 h 5143500"/>
              <a:gd name="connsiteX5" fmla="*/ 2462412 w 3697188"/>
              <a:gd name="connsiteY5" fmla="*/ 4719988 h 5143500"/>
              <a:gd name="connsiteX6" fmla="*/ 752359 w 3697188"/>
              <a:gd name="connsiteY6" fmla="*/ 5143500 h 5143500"/>
              <a:gd name="connsiteX7" fmla="*/ 0 w 3697188"/>
              <a:gd name="connsiteY7" fmla="*/ 3447865 h 5143500"/>
              <a:gd name="connsiteX8" fmla="*/ 327259 w 3697188"/>
              <a:gd name="connsiteY8" fmla="*/ 425100 h 5143500"/>
              <a:gd name="connsiteX0" fmla="*/ 327259 w 3687052"/>
              <a:gd name="connsiteY0" fmla="*/ 425100 h 5143500"/>
              <a:gd name="connsiteX1" fmla="*/ 2244274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63749 w 3423542"/>
              <a:gd name="connsiteY0" fmla="*/ 425100 h 5150874"/>
              <a:gd name="connsiteX1" fmla="*/ 1947580 w 3423542"/>
              <a:gd name="connsiteY1" fmla="*/ 0 h 5150874"/>
              <a:gd name="connsiteX2" fmla="*/ 3219802 w 3423542"/>
              <a:gd name="connsiteY2" fmla="*/ 1325414 h 5150874"/>
              <a:gd name="connsiteX3" fmla="*/ 3373337 w 3423542"/>
              <a:gd name="connsiteY3" fmla="*/ 2096830 h 5150874"/>
              <a:gd name="connsiteX4" fmla="*/ 2749946 w 3423542"/>
              <a:gd name="connsiteY4" fmla="*/ 4225261 h 5150874"/>
              <a:gd name="connsiteX5" fmla="*/ 2198902 w 3423542"/>
              <a:gd name="connsiteY5" fmla="*/ 4719988 h 5150874"/>
              <a:gd name="connsiteX6" fmla="*/ 433542 w 3423542"/>
              <a:gd name="connsiteY6" fmla="*/ 5150874 h 5150874"/>
              <a:gd name="connsiteX7" fmla="*/ 60954 w 3423542"/>
              <a:gd name="connsiteY7" fmla="*/ 5143930 h 5150874"/>
              <a:gd name="connsiteX8" fmla="*/ 63749 w 3423542"/>
              <a:gd name="connsiteY8" fmla="*/ 425100 h 5150874"/>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2795 w 3362588"/>
              <a:gd name="connsiteY0" fmla="*/ 425100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2795 w 3362588"/>
              <a:gd name="connsiteY8" fmla="*/ 425100 h 5147187"/>
              <a:gd name="connsiteX0" fmla="*/ 2795 w 3362588"/>
              <a:gd name="connsiteY0" fmla="*/ 0 h 5160852"/>
              <a:gd name="connsiteX1" fmla="*/ 1886626 w 3362588"/>
              <a:gd name="connsiteY1" fmla="*/ 13665 h 5160852"/>
              <a:gd name="connsiteX2" fmla="*/ 3158848 w 3362588"/>
              <a:gd name="connsiteY2" fmla="*/ 1339079 h 5160852"/>
              <a:gd name="connsiteX3" fmla="*/ 3312383 w 3362588"/>
              <a:gd name="connsiteY3" fmla="*/ 2110495 h 5160852"/>
              <a:gd name="connsiteX4" fmla="*/ 2688992 w 3362588"/>
              <a:gd name="connsiteY4" fmla="*/ 4238926 h 5160852"/>
              <a:gd name="connsiteX5" fmla="*/ 2137948 w 3362588"/>
              <a:gd name="connsiteY5" fmla="*/ 4733653 h 5160852"/>
              <a:gd name="connsiteX6" fmla="*/ 379962 w 3362588"/>
              <a:gd name="connsiteY6" fmla="*/ 5160852 h 5160852"/>
              <a:gd name="connsiteX7" fmla="*/ 0 w 3362588"/>
              <a:gd name="connsiteY7" fmla="*/ 5157595 h 5160852"/>
              <a:gd name="connsiteX8" fmla="*/ 2795 w 3362588"/>
              <a:gd name="connsiteY8" fmla="*/ 0 h 5160852"/>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6482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6482 w 3362588"/>
              <a:gd name="connsiteY8" fmla="*/ 0 h 5149790"/>
              <a:gd name="connsiteX0" fmla="*/ 6482 w 3362588"/>
              <a:gd name="connsiteY0" fmla="*/ 572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6482 w 3362588"/>
              <a:gd name="connsiteY8" fmla="*/ 572 h 5147187"/>
              <a:gd name="connsiteX0" fmla="*/ 132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132 w 3362588"/>
              <a:gd name="connsiteY8" fmla="*/ 3747 h 5147187"/>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3307 w 3362588"/>
              <a:gd name="connsiteY8" fmla="*/ 3747 h 5147187"/>
              <a:gd name="connsiteX0" fmla="*/ 3307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3307 w 3362588"/>
              <a:gd name="connsiteY8" fmla="*/ 0 h 514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2588" h="5149790">
                <a:moveTo>
                  <a:pt x="3307" y="0"/>
                </a:moveTo>
                <a:cubicBezTo>
                  <a:pt x="6994" y="4885"/>
                  <a:pt x="1651850" y="2603"/>
                  <a:pt x="1886626" y="2603"/>
                </a:cubicBezTo>
                <a:lnTo>
                  <a:pt x="3158848" y="1328017"/>
                </a:lnTo>
                <a:cubicBezTo>
                  <a:pt x="3415745" y="1619297"/>
                  <a:pt x="3382438" y="1827787"/>
                  <a:pt x="3312383" y="2099433"/>
                </a:cubicBezTo>
                <a:cubicBezTo>
                  <a:pt x="3139128" y="2654634"/>
                  <a:pt x="2781364" y="3951175"/>
                  <a:pt x="2688992" y="4227864"/>
                </a:cubicBezTo>
                <a:cubicBezTo>
                  <a:pt x="2582066" y="4525320"/>
                  <a:pt x="2475962" y="4619353"/>
                  <a:pt x="2137948" y="4722591"/>
                </a:cubicBezTo>
                <a:lnTo>
                  <a:pt x="379962" y="5149790"/>
                </a:lnTo>
                <a:cubicBezTo>
                  <a:pt x="384848" y="5146103"/>
                  <a:pt x="7374" y="5149022"/>
                  <a:pt x="0" y="5146533"/>
                </a:cubicBezTo>
                <a:cubicBezTo>
                  <a:pt x="3390" y="5151668"/>
                  <a:pt x="3605" y="9614"/>
                  <a:pt x="3307" y="0"/>
                </a:cubicBezTo>
                <a:close/>
              </a:path>
            </a:pathLst>
          </a:custGeom>
        </p:spPr>
        <p:txBody>
          <a:bodyPr anchor="ctr"/>
          <a:lstStyle>
            <a:lvl1pPr algn="ctr">
              <a:defRPr/>
            </a:lvl1pPr>
          </a:lstStyle>
          <a:p>
            <a:endParaRPr lang="en-US"/>
          </a:p>
        </p:txBody>
      </p:sp>
      <p:sp>
        <p:nvSpPr>
          <p:cNvPr id="5" name="Text Placeholder 2"/>
          <p:cNvSpPr>
            <a:spLocks noGrp="1"/>
          </p:cNvSpPr>
          <p:nvPr>
            <p:ph type="body" sz="quarter" idx="11"/>
          </p:nvPr>
        </p:nvSpPr>
        <p:spPr>
          <a:xfrm>
            <a:off x="6336064" y="4718247"/>
            <a:ext cx="2629785" cy="352425"/>
          </a:xfrm>
          <a:prstGeom prst="rect">
            <a:avLst/>
          </a:prstGeom>
        </p:spPr>
        <p:txBody>
          <a:bodyPr/>
          <a:lstStyle>
            <a:lvl1pPr marL="0" indent="0" algn="r">
              <a:buFontTx/>
              <a:buNone/>
              <a:defRPr sz="120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dirty="0" smtClean="0"/>
              <a:t>Click to edit Master text </a:t>
            </a:r>
            <a:endParaRPr lang="en-US" dirty="0"/>
          </a:p>
        </p:txBody>
      </p:sp>
      <p:cxnSp>
        <p:nvCxnSpPr>
          <p:cNvPr id="10" name="Straight Connector 9"/>
          <p:cNvCxnSpPr/>
          <p:nvPr userDrawn="1"/>
        </p:nvCxnSpPr>
        <p:spPr>
          <a:xfrm>
            <a:off x="3594537" y="4314112"/>
            <a:ext cx="3806927"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1" name="Content Placeholder 2"/>
          <p:cNvSpPr>
            <a:spLocks noGrp="1"/>
          </p:cNvSpPr>
          <p:nvPr>
            <p:ph sz="half" idx="12" hasCustomPrompt="1"/>
          </p:nvPr>
        </p:nvSpPr>
        <p:spPr>
          <a:xfrm>
            <a:off x="3594537"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900" indent="0">
              <a:buClr>
                <a:srgbClr val="00ACD4"/>
              </a:buClr>
              <a:buFont typeface="Arial" charset="0"/>
              <a:buNone/>
              <a:defRPr sz="1200">
                <a:solidFill>
                  <a:schemeClr val="tx1"/>
                </a:solidFill>
              </a:defRPr>
            </a:lvl2pPr>
            <a:lvl3pPr marL="857250" indent="-171450">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ext uri="{BB962C8B-B14F-4D97-AF65-F5344CB8AC3E}">
        <p14:creationId xmlns:p14="http://schemas.microsoft.com/office/powerpoint/2010/main" val="1520440679"/>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l="43713"/>
          <a:stretch/>
        </p:blipFill>
        <p:spPr>
          <a:xfrm>
            <a:off x="0" y="-18321"/>
            <a:ext cx="9144000" cy="5161823"/>
          </a:xfrm>
          <a:prstGeom prst="rect">
            <a:avLst/>
          </a:prstGeom>
        </p:spPr>
      </p:pic>
      <p:pic>
        <p:nvPicPr>
          <p:cNvPr id="4" name="Picture 3"/>
          <p:cNvPicPr>
            <a:picLocks noChangeAspect="1"/>
          </p:cNvPicPr>
          <p:nvPr userDrawn="1"/>
        </p:nvPicPr>
        <p:blipFill>
          <a:blip r:embed="rId3"/>
          <a:stretch>
            <a:fillRect/>
          </a:stretch>
        </p:blipFill>
        <p:spPr>
          <a:xfrm>
            <a:off x="434104" y="392127"/>
            <a:ext cx="617861" cy="617861"/>
          </a:xfrm>
          <a:prstGeom prst="rect">
            <a:avLst/>
          </a:prstGeom>
        </p:spPr>
      </p:pic>
      <p:sp>
        <p:nvSpPr>
          <p:cNvPr id="5" name="TextBox 4"/>
          <p:cNvSpPr txBox="1"/>
          <p:nvPr userDrawn="1"/>
        </p:nvSpPr>
        <p:spPr>
          <a:xfrm>
            <a:off x="321960" y="4313907"/>
            <a:ext cx="5233451" cy="523220"/>
          </a:xfrm>
          <a:prstGeom prst="rect">
            <a:avLst/>
          </a:prstGeom>
          <a:noFill/>
        </p:spPr>
        <p:txBody>
          <a:bodyPr wrap="square" rtlCol="0">
            <a:spAutoFit/>
          </a:bodyPr>
          <a:lstStyle/>
          <a:p>
            <a:r>
              <a:rPr lang="en-US" sz="1400" dirty="0" smtClean="0">
                <a:solidFill>
                  <a:schemeClr val="bg1"/>
                </a:solidFill>
                <a:latin typeface="Arial" charset="0"/>
                <a:ea typeface="Arial" charset="0"/>
                <a:cs typeface="Arial" charset="0"/>
              </a:rPr>
              <a:t>To download the full report please visit </a:t>
            </a:r>
          </a:p>
          <a:p>
            <a:r>
              <a:rPr lang="en-US" sz="1400" dirty="0" smtClean="0">
                <a:solidFill>
                  <a:schemeClr val="bg1"/>
                </a:solidFill>
                <a:latin typeface="Arial" charset="0"/>
                <a:ea typeface="Arial" charset="0"/>
                <a:cs typeface="Arial" charset="0"/>
              </a:rPr>
              <a:t>the GSMA website at </a:t>
            </a:r>
            <a:r>
              <a:rPr lang="en-US" sz="1400" b="1" dirty="0" err="1" smtClean="0">
                <a:solidFill>
                  <a:schemeClr val="bg1"/>
                </a:solidFill>
                <a:latin typeface="Arial" charset="0"/>
                <a:ea typeface="Arial" charset="0"/>
                <a:cs typeface="Arial" charset="0"/>
              </a:rPr>
              <a:t>www.gsma.com</a:t>
            </a:r>
            <a:r>
              <a:rPr lang="en-US" sz="1400" b="1" dirty="0" smtClean="0">
                <a:solidFill>
                  <a:schemeClr val="bg1"/>
                </a:solidFill>
                <a:latin typeface="Arial" charset="0"/>
                <a:ea typeface="Arial" charset="0"/>
                <a:cs typeface="Arial" charset="0"/>
              </a:rPr>
              <a:t>/</a:t>
            </a:r>
            <a:r>
              <a:rPr lang="en-US" sz="1400" b="1" dirty="0" err="1" smtClean="0">
                <a:solidFill>
                  <a:schemeClr val="bg1"/>
                </a:solidFill>
                <a:latin typeface="Arial" charset="0"/>
                <a:ea typeface="Arial" charset="0"/>
                <a:cs typeface="Arial" charset="0"/>
              </a:rPr>
              <a:t>sotir</a:t>
            </a:r>
            <a:endParaRPr lang="en-US" sz="1400" b="1"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266341379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931642"/>
            <a:ext cx="4038600" cy="3393579"/>
          </a:xfrm>
          <a:prstGeom prst="rect">
            <a:avLst/>
          </a:prstGeom>
        </p:spPr>
        <p:txBody>
          <a:bodyPr>
            <a:normAutofit/>
          </a:bodyPr>
          <a:lstStyle>
            <a:lvl1pPr marL="257168" indent="-257168">
              <a:buClr>
                <a:srgbClr val="00ACD4"/>
              </a:buClr>
              <a:buFont typeface="Arial" charset="0"/>
              <a:buChar char="•"/>
              <a:defRPr sz="1300">
                <a:solidFill>
                  <a:schemeClr val="tx1"/>
                </a:solidFill>
              </a:defRPr>
            </a:lvl1pPr>
            <a:lvl2pPr marL="557199" indent="-214308">
              <a:buClr>
                <a:srgbClr val="00ACD4"/>
              </a:buClr>
              <a:buFont typeface="Arial" charset="0"/>
              <a:buChar char="•"/>
              <a:defRPr sz="1200">
                <a:solidFill>
                  <a:schemeClr val="tx1"/>
                </a:solidFill>
              </a:defRPr>
            </a:lvl2pPr>
            <a:lvl3pPr marL="857228" indent="-171446">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648200" y="931642"/>
            <a:ext cx="4038600" cy="3393579"/>
          </a:xfrm>
          <a:prstGeom prst="rect">
            <a:avLst/>
          </a:prstGeom>
        </p:spPr>
        <p:txBody>
          <a:bodyPr>
            <a:normAutofit/>
          </a:bodyPr>
          <a:lstStyle>
            <a:lvl1pPr marL="257168" indent="-257168">
              <a:buClr>
                <a:srgbClr val="00ACD4"/>
              </a:buClr>
              <a:buFont typeface="Arial" charset="0"/>
              <a:buChar char="•"/>
              <a:defRPr sz="1300">
                <a:solidFill>
                  <a:schemeClr val="tx1"/>
                </a:solidFill>
              </a:defRPr>
            </a:lvl1pPr>
            <a:lvl2pPr marL="557199" indent="-214308">
              <a:buClr>
                <a:srgbClr val="00ACD4"/>
              </a:buClr>
              <a:buFont typeface="Arial" charset="0"/>
              <a:buChar char="•"/>
              <a:defRPr sz="1200">
                <a:solidFill>
                  <a:schemeClr val="tx1"/>
                </a:solidFill>
              </a:defRPr>
            </a:lvl2pPr>
            <a:lvl3pPr marL="857228" indent="-171446">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3"/>
            <a:ext cx="8229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sp>
        <p:nvSpPr>
          <p:cNvPr id="5" name="Text Placeholder 2"/>
          <p:cNvSpPr>
            <a:spLocks noGrp="1"/>
          </p:cNvSpPr>
          <p:nvPr>
            <p:ph type="body" sz="quarter" idx="10"/>
          </p:nvPr>
        </p:nvSpPr>
        <p:spPr>
          <a:xfrm>
            <a:off x="6336065" y="4718248"/>
            <a:ext cx="2629785" cy="352425"/>
          </a:xfrm>
          <a:prstGeom prst="rect">
            <a:avLst/>
          </a:prstGeom>
        </p:spPr>
        <p:txBody>
          <a:bodyPr/>
          <a:lstStyle>
            <a:lvl1pPr marL="0" indent="0" algn="r">
              <a:buFontTx/>
              <a:buNone/>
              <a:defRPr sz="1200">
                <a:solidFill>
                  <a:schemeClr val="bg1"/>
                </a:solidFill>
              </a:defRPr>
            </a:lvl1pPr>
            <a:lvl2pPr marL="342892" indent="0">
              <a:buFontTx/>
              <a:buNone/>
              <a:defRPr>
                <a:solidFill>
                  <a:schemeClr val="bg1"/>
                </a:solidFill>
              </a:defRPr>
            </a:lvl2pPr>
            <a:lvl3pPr marL="685783" indent="0">
              <a:buFontTx/>
              <a:buNone/>
              <a:defRPr>
                <a:solidFill>
                  <a:schemeClr val="bg1"/>
                </a:solidFill>
              </a:defRPr>
            </a:lvl3pPr>
            <a:lvl4pPr marL="1028675" indent="0">
              <a:buFontTx/>
              <a:buNone/>
              <a:defRPr>
                <a:solidFill>
                  <a:schemeClr val="bg1"/>
                </a:solidFill>
              </a:defRPr>
            </a:lvl4pPr>
            <a:lvl5pPr marL="1371566" indent="0">
              <a:buFontTx/>
              <a:buNone/>
              <a:defRPr>
                <a:solidFill>
                  <a:schemeClr val="bg1"/>
                </a:solidFill>
              </a:defRPr>
            </a:lvl5pPr>
          </a:lstStyle>
          <a:p>
            <a:pPr lvl="0"/>
            <a:r>
              <a:rPr lang="en-US" dirty="0" smtClean="0"/>
              <a:t>Click to edit Master text </a:t>
            </a:r>
            <a:endParaRPr lang="en-US" dirty="0"/>
          </a:p>
        </p:txBody>
      </p:sp>
      <p:cxnSp>
        <p:nvCxnSpPr>
          <p:cNvPr id="7" name="Straight Connector 6"/>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892" indent="0">
              <a:buClr>
                <a:srgbClr val="00ACD4"/>
              </a:buClr>
              <a:buFont typeface="Arial" charset="0"/>
              <a:buNone/>
              <a:defRPr sz="1200">
                <a:solidFill>
                  <a:schemeClr val="tx1"/>
                </a:solidFill>
              </a:defRPr>
            </a:lvl2pPr>
            <a:lvl3pPr marL="857228" indent="-171446">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ext uri="{BB962C8B-B14F-4D97-AF65-F5344CB8AC3E}">
        <p14:creationId xmlns:p14="http://schemas.microsoft.com/office/powerpoint/2010/main" val="2378086646"/>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931642"/>
            <a:ext cx="4038600" cy="3276217"/>
          </a:xfrm>
          <a:prstGeom prst="rect">
            <a:avLst/>
          </a:prstGeom>
        </p:spPr>
        <p:txBody>
          <a:bodyPr>
            <a:normAutofit/>
          </a:bodyPr>
          <a:lstStyle>
            <a:lvl1pPr marL="257168" indent="-257168">
              <a:buClr>
                <a:srgbClr val="00ACD4"/>
              </a:buClr>
              <a:buFont typeface="Arial" charset="0"/>
              <a:buChar char="•"/>
              <a:defRPr sz="1300">
                <a:solidFill>
                  <a:schemeClr val="tx1"/>
                </a:solidFill>
              </a:defRPr>
            </a:lvl1pPr>
            <a:lvl2pPr marL="557199" indent="-214308">
              <a:buClr>
                <a:srgbClr val="00ACD4"/>
              </a:buClr>
              <a:buFont typeface="Arial" charset="0"/>
              <a:buChar char="•"/>
              <a:defRPr sz="1200">
                <a:solidFill>
                  <a:schemeClr val="tx1"/>
                </a:solidFill>
              </a:defRPr>
            </a:lvl2pPr>
            <a:lvl3pPr marL="857228" indent="-171446">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3"/>
            <a:ext cx="8229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pic>
        <p:nvPicPr>
          <p:cNvPr id="5" name="Picture 4"/>
          <p:cNvPicPr>
            <a:picLocks noChangeAspect="1"/>
          </p:cNvPicPr>
          <p:nvPr userDrawn="1"/>
        </p:nvPicPr>
        <p:blipFill>
          <a:blip r:embed="rId2"/>
          <a:stretch>
            <a:fillRect/>
          </a:stretch>
        </p:blipFill>
        <p:spPr>
          <a:xfrm>
            <a:off x="4633588" y="931641"/>
            <a:ext cx="1490419" cy="1663602"/>
          </a:xfrm>
          <a:prstGeom prst="rect">
            <a:avLst/>
          </a:prstGeom>
        </p:spPr>
      </p:pic>
      <p:pic>
        <p:nvPicPr>
          <p:cNvPr id="7" name="Picture 6"/>
          <p:cNvPicPr>
            <a:picLocks noChangeAspect="1"/>
          </p:cNvPicPr>
          <p:nvPr userDrawn="1"/>
        </p:nvPicPr>
        <p:blipFill>
          <a:blip r:embed="rId3"/>
          <a:stretch>
            <a:fillRect/>
          </a:stretch>
        </p:blipFill>
        <p:spPr>
          <a:xfrm>
            <a:off x="6285516" y="931641"/>
            <a:ext cx="1490419" cy="1663602"/>
          </a:xfrm>
          <a:prstGeom prst="rect">
            <a:avLst/>
          </a:prstGeom>
        </p:spPr>
      </p:pic>
      <p:pic>
        <p:nvPicPr>
          <p:cNvPr id="10" name="Picture 9"/>
          <p:cNvPicPr>
            <a:picLocks noChangeAspect="1"/>
          </p:cNvPicPr>
          <p:nvPr userDrawn="1"/>
        </p:nvPicPr>
        <p:blipFill>
          <a:blip r:embed="rId3"/>
          <a:stretch>
            <a:fillRect/>
          </a:stretch>
        </p:blipFill>
        <p:spPr>
          <a:xfrm>
            <a:off x="5481117" y="2375686"/>
            <a:ext cx="1490419" cy="1663602"/>
          </a:xfrm>
          <a:prstGeom prst="rect">
            <a:avLst/>
          </a:prstGeom>
        </p:spPr>
      </p:pic>
      <p:pic>
        <p:nvPicPr>
          <p:cNvPr id="11" name="Picture 10"/>
          <p:cNvPicPr>
            <a:picLocks noChangeAspect="1"/>
          </p:cNvPicPr>
          <p:nvPr userDrawn="1"/>
        </p:nvPicPr>
        <p:blipFill>
          <a:blip r:embed="rId2"/>
          <a:stretch>
            <a:fillRect/>
          </a:stretch>
        </p:blipFill>
        <p:spPr>
          <a:xfrm>
            <a:off x="7117222" y="2369053"/>
            <a:ext cx="1490419" cy="1663602"/>
          </a:xfrm>
          <a:prstGeom prst="rect">
            <a:avLst/>
          </a:prstGeom>
        </p:spPr>
      </p:pic>
      <p:sp>
        <p:nvSpPr>
          <p:cNvPr id="12" name="Text Placeholder 2"/>
          <p:cNvSpPr>
            <a:spLocks noGrp="1"/>
          </p:cNvSpPr>
          <p:nvPr>
            <p:ph type="body" sz="quarter" idx="10"/>
          </p:nvPr>
        </p:nvSpPr>
        <p:spPr>
          <a:xfrm>
            <a:off x="6336065" y="4718248"/>
            <a:ext cx="2629785" cy="352425"/>
          </a:xfrm>
          <a:prstGeom prst="rect">
            <a:avLst/>
          </a:prstGeom>
        </p:spPr>
        <p:txBody>
          <a:bodyPr/>
          <a:lstStyle>
            <a:lvl1pPr marL="0" indent="0" algn="r">
              <a:buFontTx/>
              <a:buNone/>
              <a:defRPr sz="1200">
                <a:solidFill>
                  <a:schemeClr val="bg1"/>
                </a:solidFill>
              </a:defRPr>
            </a:lvl1pPr>
            <a:lvl2pPr marL="342892" indent="0">
              <a:buFontTx/>
              <a:buNone/>
              <a:defRPr>
                <a:solidFill>
                  <a:schemeClr val="bg1"/>
                </a:solidFill>
              </a:defRPr>
            </a:lvl2pPr>
            <a:lvl3pPr marL="685783" indent="0">
              <a:buFontTx/>
              <a:buNone/>
              <a:defRPr>
                <a:solidFill>
                  <a:schemeClr val="bg1"/>
                </a:solidFill>
              </a:defRPr>
            </a:lvl3pPr>
            <a:lvl4pPr marL="1028675" indent="0">
              <a:buFontTx/>
              <a:buNone/>
              <a:defRPr>
                <a:solidFill>
                  <a:schemeClr val="bg1"/>
                </a:solidFill>
              </a:defRPr>
            </a:lvl4pPr>
            <a:lvl5pPr marL="1371566" indent="0">
              <a:buFontTx/>
              <a:buNone/>
              <a:defRPr>
                <a:solidFill>
                  <a:schemeClr val="bg1"/>
                </a:solidFill>
              </a:defRPr>
            </a:lvl5pPr>
          </a:lstStyle>
          <a:p>
            <a:pPr lvl="0"/>
            <a:r>
              <a:rPr lang="en-US" dirty="0" smtClean="0"/>
              <a:t>Click to edit Master text </a:t>
            </a:r>
            <a:endParaRPr lang="en-US"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892" indent="0">
              <a:buClr>
                <a:srgbClr val="00ACD4"/>
              </a:buClr>
              <a:buFont typeface="Arial" charset="0"/>
              <a:buNone/>
              <a:defRPr sz="1200">
                <a:solidFill>
                  <a:schemeClr val="tx1"/>
                </a:solidFill>
              </a:defRPr>
            </a:lvl2pPr>
            <a:lvl3pPr marL="857228" indent="-171446">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
        <p:nvSpPr>
          <p:cNvPr id="17" name="Text Placeholder 16"/>
          <p:cNvSpPr>
            <a:spLocks noGrp="1"/>
          </p:cNvSpPr>
          <p:nvPr>
            <p:ph type="body" sz="quarter" idx="12" hasCustomPrompt="1"/>
          </p:nvPr>
        </p:nvSpPr>
        <p:spPr>
          <a:xfrm>
            <a:off x="4633589" y="122770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18" name="Text Placeholder 16"/>
          <p:cNvSpPr>
            <a:spLocks noGrp="1"/>
          </p:cNvSpPr>
          <p:nvPr>
            <p:ph type="body" sz="quarter" idx="13" hasCustomPrompt="1"/>
          </p:nvPr>
        </p:nvSpPr>
        <p:spPr>
          <a:xfrm>
            <a:off x="6285517" y="122770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19" name="Text Placeholder 16"/>
          <p:cNvSpPr>
            <a:spLocks noGrp="1"/>
          </p:cNvSpPr>
          <p:nvPr>
            <p:ph type="body" sz="quarter" idx="14" hasCustomPrompt="1"/>
          </p:nvPr>
        </p:nvSpPr>
        <p:spPr>
          <a:xfrm>
            <a:off x="7117224" y="2665802"/>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20" name="Text Placeholder 16"/>
          <p:cNvSpPr>
            <a:spLocks noGrp="1"/>
          </p:cNvSpPr>
          <p:nvPr>
            <p:ph type="body" sz="quarter" idx="15" hasCustomPrompt="1"/>
          </p:nvPr>
        </p:nvSpPr>
        <p:spPr>
          <a:xfrm>
            <a:off x="5481118" y="2672435"/>
            <a:ext cx="1490419" cy="827214"/>
          </a:xfrm>
          <a:prstGeom prst="rect">
            <a:avLst/>
          </a:prstGeom>
        </p:spPr>
        <p:txBody>
          <a:bodyPr/>
          <a:lstStyle>
            <a:lvl1pPr marL="0" indent="0" algn="ctr">
              <a:buFontTx/>
              <a:buNone/>
              <a:defRPr sz="4200" b="1">
                <a:solidFill>
                  <a:schemeClr val="bg1"/>
                </a:solidFill>
              </a:defRPr>
            </a:lvl1pPr>
          </a:lstStyle>
          <a:p>
            <a:pPr lvl="0"/>
            <a:r>
              <a:rPr lang="mr-IN" dirty="0" smtClean="0"/>
              <a:t>79%</a:t>
            </a:r>
            <a:endParaRPr lang="en-US" dirty="0"/>
          </a:p>
        </p:txBody>
      </p:sp>
      <p:sp>
        <p:nvSpPr>
          <p:cNvPr id="21" name="Text Placeholder 16"/>
          <p:cNvSpPr>
            <a:spLocks noGrp="1"/>
          </p:cNvSpPr>
          <p:nvPr>
            <p:ph type="body" sz="quarter" idx="16" hasCustomPrompt="1"/>
          </p:nvPr>
        </p:nvSpPr>
        <p:spPr>
          <a:xfrm>
            <a:off x="4633588" y="1882298"/>
            <a:ext cx="1490418" cy="600669"/>
          </a:xfrm>
          <a:prstGeom prst="rect">
            <a:avLst/>
          </a:prstGeom>
        </p:spPr>
        <p:txBody>
          <a:bodyPr/>
          <a:lstStyle>
            <a:lvl1pPr marL="0" indent="0" algn="ctr">
              <a:lnSpc>
                <a:spcPct val="70000"/>
              </a:lnSpc>
              <a:buFontTx/>
              <a:buNone/>
              <a:defRPr sz="700" b="0">
                <a:solidFill>
                  <a:schemeClr val="bg1"/>
                </a:solidFill>
              </a:defRPr>
            </a:lvl1pPr>
          </a:lstStyle>
          <a:p>
            <a:pPr lvl="0"/>
            <a:r>
              <a:rPr lang="en-US" dirty="0" smtClean="0"/>
              <a:t>26% customer activity rate among</a:t>
            </a:r>
            <a:endParaRPr lang="en-US" dirty="0"/>
          </a:p>
        </p:txBody>
      </p:sp>
      <p:sp>
        <p:nvSpPr>
          <p:cNvPr id="22" name="Text Placeholder 16"/>
          <p:cNvSpPr>
            <a:spLocks noGrp="1"/>
          </p:cNvSpPr>
          <p:nvPr>
            <p:ph type="body" sz="quarter" idx="17" hasCustomPrompt="1"/>
          </p:nvPr>
        </p:nvSpPr>
        <p:spPr>
          <a:xfrm>
            <a:off x="6285515" y="1882298"/>
            <a:ext cx="1490418" cy="600669"/>
          </a:xfrm>
          <a:prstGeom prst="rect">
            <a:avLst/>
          </a:prstGeom>
        </p:spPr>
        <p:txBody>
          <a:bodyPr/>
          <a:lstStyle>
            <a:lvl1pPr marL="0" indent="0" algn="ctr">
              <a:lnSpc>
                <a:spcPct val="70000"/>
              </a:lnSpc>
              <a:buFontTx/>
              <a:buNone/>
              <a:defRPr sz="700" b="0">
                <a:solidFill>
                  <a:srgbClr val="193C6C"/>
                </a:solidFill>
              </a:defRPr>
            </a:lvl1pPr>
          </a:lstStyle>
          <a:p>
            <a:pPr lvl="0"/>
            <a:r>
              <a:rPr lang="en-US" dirty="0" smtClean="0"/>
              <a:t>26% customer activity rate among</a:t>
            </a:r>
            <a:endParaRPr lang="en-US" dirty="0"/>
          </a:p>
        </p:txBody>
      </p:sp>
      <p:sp>
        <p:nvSpPr>
          <p:cNvPr id="23" name="Text Placeholder 16"/>
          <p:cNvSpPr>
            <a:spLocks noGrp="1"/>
          </p:cNvSpPr>
          <p:nvPr>
            <p:ph type="body" sz="quarter" idx="18" hasCustomPrompt="1"/>
          </p:nvPr>
        </p:nvSpPr>
        <p:spPr>
          <a:xfrm>
            <a:off x="7109322" y="3329191"/>
            <a:ext cx="1490418" cy="546063"/>
          </a:xfrm>
          <a:prstGeom prst="rect">
            <a:avLst/>
          </a:prstGeom>
        </p:spPr>
        <p:txBody>
          <a:bodyPr/>
          <a:lstStyle>
            <a:lvl1pPr marL="0" indent="0" algn="ctr">
              <a:lnSpc>
                <a:spcPct val="70000"/>
              </a:lnSpc>
              <a:buFontTx/>
              <a:buNone/>
              <a:defRPr sz="700" b="0">
                <a:solidFill>
                  <a:schemeClr val="bg1"/>
                </a:solidFill>
              </a:defRPr>
            </a:lvl1pPr>
          </a:lstStyle>
          <a:p>
            <a:pPr lvl="0"/>
            <a:r>
              <a:rPr lang="en-US" dirty="0" smtClean="0"/>
              <a:t>26% customer activity rate among</a:t>
            </a:r>
            <a:endParaRPr lang="en-US" dirty="0"/>
          </a:p>
        </p:txBody>
      </p:sp>
      <p:sp>
        <p:nvSpPr>
          <p:cNvPr id="24" name="Text Placeholder 16"/>
          <p:cNvSpPr>
            <a:spLocks noGrp="1"/>
          </p:cNvSpPr>
          <p:nvPr>
            <p:ph type="body" sz="quarter" idx="19" hasCustomPrompt="1"/>
          </p:nvPr>
        </p:nvSpPr>
        <p:spPr>
          <a:xfrm>
            <a:off x="5489017" y="3335824"/>
            <a:ext cx="1490418" cy="546063"/>
          </a:xfrm>
          <a:prstGeom prst="rect">
            <a:avLst/>
          </a:prstGeom>
        </p:spPr>
        <p:txBody>
          <a:bodyPr/>
          <a:lstStyle>
            <a:lvl1pPr marL="0" indent="0" algn="ctr">
              <a:lnSpc>
                <a:spcPct val="70000"/>
              </a:lnSpc>
              <a:buFontTx/>
              <a:buNone/>
              <a:defRPr sz="700" b="0">
                <a:solidFill>
                  <a:srgbClr val="193C6C"/>
                </a:solidFill>
              </a:defRPr>
            </a:lvl1pPr>
          </a:lstStyle>
          <a:p>
            <a:pPr lvl="0"/>
            <a:r>
              <a:rPr lang="en-US" dirty="0" smtClean="0"/>
              <a:t>26% customer activity rate among</a:t>
            </a:r>
            <a:endParaRPr lang="en-US" dirty="0"/>
          </a:p>
        </p:txBody>
      </p:sp>
    </p:spTree>
    <p:extLst>
      <p:ext uri="{BB962C8B-B14F-4D97-AF65-F5344CB8AC3E}">
        <p14:creationId xmlns:p14="http://schemas.microsoft.com/office/powerpoint/2010/main" val="3281474773"/>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a:xfrm>
            <a:off x="4735103" y="-617"/>
            <a:ext cx="4408897" cy="4905993"/>
          </a:xfrm>
          <a:custGeom>
            <a:avLst/>
            <a:gdLst>
              <a:gd name="connsiteX0" fmla="*/ 0 w 4391025"/>
              <a:gd name="connsiteY0" fmla="*/ 0 h 4905375"/>
              <a:gd name="connsiteX1" fmla="*/ 4391025 w 4391025"/>
              <a:gd name="connsiteY1" fmla="*/ 0 h 4905375"/>
              <a:gd name="connsiteX2" fmla="*/ 4391025 w 4391025"/>
              <a:gd name="connsiteY2" fmla="*/ 4905375 h 4905375"/>
              <a:gd name="connsiteX3" fmla="*/ 0 w 4391025"/>
              <a:gd name="connsiteY3" fmla="*/ 4905375 h 4905375"/>
              <a:gd name="connsiteX4" fmla="*/ 0 w 4391025"/>
              <a:gd name="connsiteY4" fmla="*/ 0 h 4905375"/>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906162 w 4391025"/>
              <a:gd name="connsiteY4"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809625 w 4391025"/>
              <a:gd name="connsiteY4" fmla="*/ 54163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687705 w 4391025"/>
              <a:gd name="connsiteY4" fmla="*/ 328278 h 4913613"/>
              <a:gd name="connsiteX5" fmla="*/ 906162 w 4391025"/>
              <a:gd name="connsiteY5"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432435 w 4391025"/>
              <a:gd name="connsiteY4" fmla="*/ 19970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32385 w 4391025"/>
              <a:gd name="connsiteY4" fmla="*/ 2568558 h 4913613"/>
              <a:gd name="connsiteX5" fmla="*/ 687705 w 4391025"/>
              <a:gd name="connsiteY5" fmla="*/ 328278 h 4913613"/>
              <a:gd name="connsiteX6" fmla="*/ 906162 w 4391025"/>
              <a:gd name="connsiteY6"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7145 w 4391025"/>
              <a:gd name="connsiteY4" fmla="*/ 3475338 h 4913613"/>
              <a:gd name="connsiteX5" fmla="*/ 32385 w 4391025"/>
              <a:gd name="connsiteY5" fmla="*/ 2568558 h 4913613"/>
              <a:gd name="connsiteX6" fmla="*/ 687705 w 4391025"/>
              <a:gd name="connsiteY6" fmla="*/ 328278 h 4913613"/>
              <a:gd name="connsiteX7" fmla="*/ 906162 w 4391025"/>
              <a:gd name="connsiteY7" fmla="*/ 0 h 4913613"/>
              <a:gd name="connsiteX0" fmla="*/ 906162 w 4391025"/>
              <a:gd name="connsiteY0" fmla="*/ 0 h 4913613"/>
              <a:gd name="connsiteX1" fmla="*/ 4391025 w 4391025"/>
              <a:gd name="connsiteY1" fmla="*/ 8238 h 4913613"/>
              <a:gd name="connsiteX2" fmla="*/ 4391025 w 4391025"/>
              <a:gd name="connsiteY2" fmla="*/ 4913613 h 4913613"/>
              <a:gd name="connsiteX3" fmla="*/ 0 w 4391025"/>
              <a:gd name="connsiteY3" fmla="*/ 4913613 h 4913613"/>
              <a:gd name="connsiteX4" fmla="*/ 127635 w 4391025"/>
              <a:gd name="connsiteY4" fmla="*/ 3220068 h 4913613"/>
              <a:gd name="connsiteX5" fmla="*/ 32385 w 4391025"/>
              <a:gd name="connsiteY5" fmla="*/ 2568558 h 4913613"/>
              <a:gd name="connsiteX6" fmla="*/ 687705 w 4391025"/>
              <a:gd name="connsiteY6" fmla="*/ 328278 h 4913613"/>
              <a:gd name="connsiteX7" fmla="*/ 906162 w 4391025"/>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5250 w 4358640"/>
              <a:gd name="connsiteY4" fmla="*/ 3220068 h 4913613"/>
              <a:gd name="connsiteX5" fmla="*/ 0 w 4358640"/>
              <a:gd name="connsiteY5" fmla="*/ 2568558 h 4913613"/>
              <a:gd name="connsiteX6" fmla="*/ 655320 w 4358640"/>
              <a:gd name="connsiteY6" fmla="*/ 328278 h 4913613"/>
              <a:gd name="connsiteX7" fmla="*/ 873777 w 4358640"/>
              <a:gd name="connsiteY7" fmla="*/ 0 h 4913613"/>
              <a:gd name="connsiteX0" fmla="*/ 873777 w 4358640"/>
              <a:gd name="connsiteY0" fmla="*/ 0 h 4913613"/>
              <a:gd name="connsiteX1" fmla="*/ 4358640 w 4358640"/>
              <a:gd name="connsiteY1" fmla="*/ 8238 h 4913613"/>
              <a:gd name="connsiteX2" fmla="*/ 4358640 w 4358640"/>
              <a:gd name="connsiteY2" fmla="*/ 4913613 h 4913613"/>
              <a:gd name="connsiteX3" fmla="*/ 1609725 w 4358640"/>
              <a:gd name="connsiteY3" fmla="*/ 4780263 h 4913613"/>
              <a:gd name="connsiteX4" fmla="*/ 91440 w 4358640"/>
              <a:gd name="connsiteY4" fmla="*/ 3204828 h 4913613"/>
              <a:gd name="connsiteX5" fmla="*/ 0 w 4358640"/>
              <a:gd name="connsiteY5" fmla="*/ 2568558 h 4913613"/>
              <a:gd name="connsiteX6" fmla="*/ 655320 w 4358640"/>
              <a:gd name="connsiteY6" fmla="*/ 328278 h 4913613"/>
              <a:gd name="connsiteX7" fmla="*/ 873777 w 4358640"/>
              <a:gd name="connsiteY7" fmla="*/ 0 h 4913613"/>
              <a:gd name="connsiteX0" fmla="*/ 881147 w 4366010"/>
              <a:gd name="connsiteY0" fmla="*/ 0 h 4913613"/>
              <a:gd name="connsiteX1" fmla="*/ 4366010 w 4366010"/>
              <a:gd name="connsiteY1" fmla="*/ 8238 h 4913613"/>
              <a:gd name="connsiteX2" fmla="*/ 4366010 w 4366010"/>
              <a:gd name="connsiteY2" fmla="*/ 4913613 h 4913613"/>
              <a:gd name="connsiteX3" fmla="*/ 1617095 w 4366010"/>
              <a:gd name="connsiteY3" fmla="*/ 4780263 h 4913613"/>
              <a:gd name="connsiteX4" fmla="*/ 98810 w 4366010"/>
              <a:gd name="connsiteY4" fmla="*/ 3204828 h 4913613"/>
              <a:gd name="connsiteX5" fmla="*/ 7370 w 4366010"/>
              <a:gd name="connsiteY5" fmla="*/ 2568558 h 4913613"/>
              <a:gd name="connsiteX6" fmla="*/ 662690 w 4366010"/>
              <a:gd name="connsiteY6" fmla="*/ 328278 h 4913613"/>
              <a:gd name="connsiteX7" fmla="*/ 881147 w 4366010"/>
              <a:gd name="connsiteY7" fmla="*/ 0 h 4913613"/>
              <a:gd name="connsiteX0" fmla="*/ 915784 w 4400647"/>
              <a:gd name="connsiteY0" fmla="*/ 0 h 4913613"/>
              <a:gd name="connsiteX1" fmla="*/ 4400647 w 4400647"/>
              <a:gd name="connsiteY1" fmla="*/ 8238 h 4913613"/>
              <a:gd name="connsiteX2" fmla="*/ 4400647 w 4400647"/>
              <a:gd name="connsiteY2" fmla="*/ 4913613 h 4913613"/>
              <a:gd name="connsiteX3" fmla="*/ 1651732 w 4400647"/>
              <a:gd name="connsiteY3" fmla="*/ 4780263 h 4913613"/>
              <a:gd name="connsiteX4" fmla="*/ 133447 w 4400647"/>
              <a:gd name="connsiteY4" fmla="*/ 3204828 h 4913613"/>
              <a:gd name="connsiteX5" fmla="*/ 42007 w 4400647"/>
              <a:gd name="connsiteY5" fmla="*/ 2568558 h 4913613"/>
              <a:gd name="connsiteX6" fmla="*/ 697327 w 4400647"/>
              <a:gd name="connsiteY6" fmla="*/ 328278 h 4913613"/>
              <a:gd name="connsiteX7" fmla="*/ 915784 w 4400647"/>
              <a:gd name="connsiteY7" fmla="*/ 0 h 491361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31024 w 4400647"/>
              <a:gd name="connsiteY0" fmla="*/ 0 h 4905993"/>
              <a:gd name="connsiteX1" fmla="*/ 4400647 w 4400647"/>
              <a:gd name="connsiteY1" fmla="*/ 618 h 4905993"/>
              <a:gd name="connsiteX2" fmla="*/ 4400647 w 4400647"/>
              <a:gd name="connsiteY2" fmla="*/ 4905993 h 4905993"/>
              <a:gd name="connsiteX3" fmla="*/ 1651732 w 4400647"/>
              <a:gd name="connsiteY3" fmla="*/ 4772643 h 4905993"/>
              <a:gd name="connsiteX4" fmla="*/ 133447 w 4400647"/>
              <a:gd name="connsiteY4" fmla="*/ 3197208 h 4905993"/>
              <a:gd name="connsiteX5" fmla="*/ 42007 w 4400647"/>
              <a:gd name="connsiteY5" fmla="*/ 2560938 h 4905993"/>
              <a:gd name="connsiteX6" fmla="*/ 697327 w 4400647"/>
              <a:gd name="connsiteY6" fmla="*/ 320658 h 4905993"/>
              <a:gd name="connsiteX7" fmla="*/ 931024 w 4400647"/>
              <a:gd name="connsiteY7" fmla="*/ 0 h 4905993"/>
              <a:gd name="connsiteX0" fmla="*/ 928216 w 4397839"/>
              <a:gd name="connsiteY0" fmla="*/ 0 h 4905993"/>
              <a:gd name="connsiteX1" fmla="*/ 4397839 w 4397839"/>
              <a:gd name="connsiteY1" fmla="*/ 618 h 4905993"/>
              <a:gd name="connsiteX2" fmla="*/ 4397839 w 4397839"/>
              <a:gd name="connsiteY2" fmla="*/ 4905993 h 4905993"/>
              <a:gd name="connsiteX3" fmla="*/ 1648924 w 4397839"/>
              <a:gd name="connsiteY3" fmla="*/ 4772643 h 4905993"/>
              <a:gd name="connsiteX4" fmla="*/ 138259 w 4397839"/>
              <a:gd name="connsiteY4" fmla="*/ 3208638 h 4905993"/>
              <a:gd name="connsiteX5" fmla="*/ 39199 w 4397839"/>
              <a:gd name="connsiteY5" fmla="*/ 2560938 h 4905993"/>
              <a:gd name="connsiteX6" fmla="*/ 694519 w 4397839"/>
              <a:gd name="connsiteY6" fmla="*/ 320658 h 4905993"/>
              <a:gd name="connsiteX7" fmla="*/ 928216 w 4397839"/>
              <a:gd name="connsiteY7" fmla="*/ 0 h 4905993"/>
              <a:gd name="connsiteX0" fmla="*/ 931629 w 4401252"/>
              <a:gd name="connsiteY0" fmla="*/ 0 h 4905993"/>
              <a:gd name="connsiteX1" fmla="*/ 4401252 w 4401252"/>
              <a:gd name="connsiteY1" fmla="*/ 618 h 4905993"/>
              <a:gd name="connsiteX2" fmla="*/ 4401252 w 4401252"/>
              <a:gd name="connsiteY2" fmla="*/ 4905993 h 4905993"/>
              <a:gd name="connsiteX3" fmla="*/ 1652337 w 4401252"/>
              <a:gd name="connsiteY3" fmla="*/ 4772643 h 4905993"/>
              <a:gd name="connsiteX4" fmla="*/ 141672 w 4401252"/>
              <a:gd name="connsiteY4" fmla="*/ 3208638 h 4905993"/>
              <a:gd name="connsiteX5" fmla="*/ 42612 w 4401252"/>
              <a:gd name="connsiteY5" fmla="*/ 2560938 h 4905993"/>
              <a:gd name="connsiteX6" fmla="*/ 697932 w 4401252"/>
              <a:gd name="connsiteY6" fmla="*/ 320658 h 4905993"/>
              <a:gd name="connsiteX7" fmla="*/ 931629 w 4401252"/>
              <a:gd name="connsiteY7" fmla="*/ 0 h 4905993"/>
              <a:gd name="connsiteX0" fmla="*/ 937706 w 4407329"/>
              <a:gd name="connsiteY0" fmla="*/ 0 h 4905993"/>
              <a:gd name="connsiteX1" fmla="*/ 4407329 w 4407329"/>
              <a:gd name="connsiteY1" fmla="*/ 618 h 4905993"/>
              <a:gd name="connsiteX2" fmla="*/ 4407329 w 4407329"/>
              <a:gd name="connsiteY2" fmla="*/ 4905993 h 4905993"/>
              <a:gd name="connsiteX3" fmla="*/ 1658414 w 4407329"/>
              <a:gd name="connsiteY3" fmla="*/ 4772643 h 4905993"/>
              <a:gd name="connsiteX4" fmla="*/ 147749 w 4407329"/>
              <a:gd name="connsiteY4" fmla="*/ 3208638 h 4905993"/>
              <a:gd name="connsiteX5" fmla="*/ 48689 w 4407329"/>
              <a:gd name="connsiteY5" fmla="*/ 2560938 h 4905993"/>
              <a:gd name="connsiteX6" fmla="*/ 704009 w 4407329"/>
              <a:gd name="connsiteY6" fmla="*/ 320658 h 4905993"/>
              <a:gd name="connsiteX7" fmla="*/ 937706 w 4407329"/>
              <a:gd name="connsiteY7" fmla="*/ 0 h 4905993"/>
              <a:gd name="connsiteX0" fmla="*/ 939274 w 4408897"/>
              <a:gd name="connsiteY0" fmla="*/ 0 h 4905993"/>
              <a:gd name="connsiteX1" fmla="*/ 4408897 w 4408897"/>
              <a:gd name="connsiteY1" fmla="*/ 618 h 4905993"/>
              <a:gd name="connsiteX2" fmla="*/ 4408897 w 4408897"/>
              <a:gd name="connsiteY2" fmla="*/ 4905993 h 4905993"/>
              <a:gd name="connsiteX3" fmla="*/ 1659982 w 4408897"/>
              <a:gd name="connsiteY3" fmla="*/ 4772643 h 4905993"/>
              <a:gd name="connsiteX4" fmla="*/ 149317 w 4408897"/>
              <a:gd name="connsiteY4" fmla="*/ 3208638 h 4905993"/>
              <a:gd name="connsiteX5" fmla="*/ 50257 w 4408897"/>
              <a:gd name="connsiteY5" fmla="*/ 2560938 h 4905993"/>
              <a:gd name="connsiteX6" fmla="*/ 705577 w 4408897"/>
              <a:gd name="connsiteY6" fmla="*/ 320658 h 4905993"/>
              <a:gd name="connsiteX7" fmla="*/ 939274 w 4408897"/>
              <a:gd name="connsiteY7" fmla="*/ 0 h 4905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8897" h="4905993">
                <a:moveTo>
                  <a:pt x="939274" y="0"/>
                </a:moveTo>
                <a:lnTo>
                  <a:pt x="4408897" y="618"/>
                </a:lnTo>
                <a:lnTo>
                  <a:pt x="4408897" y="4905993"/>
                </a:lnTo>
                <a:lnTo>
                  <a:pt x="1659982" y="4772643"/>
                </a:lnTo>
                <a:lnTo>
                  <a:pt x="149317" y="3208638"/>
                </a:lnTo>
                <a:cubicBezTo>
                  <a:pt x="-52613" y="2977498"/>
                  <a:pt x="-10703" y="2757788"/>
                  <a:pt x="50257" y="2560938"/>
                </a:cubicBezTo>
                <a:lnTo>
                  <a:pt x="705577" y="320658"/>
                </a:lnTo>
                <a:cubicBezTo>
                  <a:pt x="752996" y="183292"/>
                  <a:pt x="823275" y="91646"/>
                  <a:pt x="939274" y="0"/>
                </a:cubicBezTo>
                <a:close/>
              </a:path>
            </a:pathLst>
          </a:custGeom>
        </p:spPr>
        <p:txBody>
          <a:bodyPr anchor="ctr"/>
          <a:lstStyle>
            <a:lvl1pPr algn="ctr">
              <a:defRPr/>
            </a:lvl1pPr>
          </a:lstStyle>
          <a:p>
            <a:endParaRPr lang="en-US" dirty="0"/>
          </a:p>
        </p:txBody>
      </p:sp>
      <p:sp>
        <p:nvSpPr>
          <p:cNvPr id="3" name="Content Placeholder 2"/>
          <p:cNvSpPr>
            <a:spLocks noGrp="1"/>
          </p:cNvSpPr>
          <p:nvPr>
            <p:ph sz="half" idx="1"/>
          </p:nvPr>
        </p:nvSpPr>
        <p:spPr>
          <a:xfrm>
            <a:off x="457200" y="931642"/>
            <a:ext cx="4038600" cy="3276217"/>
          </a:xfrm>
          <a:prstGeom prst="rect">
            <a:avLst/>
          </a:prstGeom>
        </p:spPr>
        <p:txBody>
          <a:bodyPr>
            <a:normAutofit/>
          </a:bodyPr>
          <a:lstStyle>
            <a:lvl1pPr marL="257168" indent="-257168">
              <a:buClr>
                <a:srgbClr val="00ACD4"/>
              </a:buClr>
              <a:buFont typeface="Arial" charset="0"/>
              <a:buChar char="•"/>
              <a:defRPr sz="1300">
                <a:solidFill>
                  <a:schemeClr val="tx1"/>
                </a:solidFill>
              </a:defRPr>
            </a:lvl1pPr>
            <a:lvl2pPr marL="557199" indent="-214308">
              <a:buClr>
                <a:srgbClr val="00ACD4"/>
              </a:buClr>
              <a:buFont typeface="Arial" charset="0"/>
              <a:buChar char="•"/>
              <a:defRPr sz="1200">
                <a:solidFill>
                  <a:schemeClr val="tx1"/>
                </a:solidFill>
              </a:defRPr>
            </a:lvl2pPr>
            <a:lvl3pPr marL="857228" indent="-171446">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499593"/>
            <a:ext cx="4038600" cy="432049"/>
          </a:xfrm>
          <a:prstGeom prst="rect">
            <a:avLst/>
          </a:prstGeom>
        </p:spPr>
        <p:txBody>
          <a:bodyPr vert="horz" lIns="91440" tIns="45720" rIns="91440" bIns="45720" rtlCol="0" anchor="t" anchorCtr="0">
            <a:normAutofit/>
          </a:bodyPr>
          <a:lstStyle>
            <a:lvl1pPr>
              <a:defRPr sz="1700">
                <a:solidFill>
                  <a:srgbClr val="00ACD4"/>
                </a:solidFill>
              </a:defRPr>
            </a:lvl1pPr>
          </a:lstStyle>
          <a:p>
            <a:r>
              <a:rPr lang="en-US" dirty="0"/>
              <a:t>Click to edit Master title style</a:t>
            </a:r>
            <a:endParaRPr lang="en-JM" dirty="0"/>
          </a:p>
        </p:txBody>
      </p:sp>
      <p:cxnSp>
        <p:nvCxnSpPr>
          <p:cNvPr id="14" name="Straight Connector 13"/>
          <p:cNvCxnSpPr/>
          <p:nvPr userDrawn="1"/>
        </p:nvCxnSpPr>
        <p:spPr>
          <a:xfrm>
            <a:off x="457200" y="4314112"/>
            <a:ext cx="5647164"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5" name="Content Placeholder 2"/>
          <p:cNvSpPr>
            <a:spLocks noGrp="1"/>
          </p:cNvSpPr>
          <p:nvPr>
            <p:ph sz="half" idx="11" hasCustomPrompt="1"/>
          </p:nvPr>
        </p:nvSpPr>
        <p:spPr>
          <a:xfrm>
            <a:off x="457200"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892" indent="0">
              <a:buClr>
                <a:srgbClr val="00ACD4"/>
              </a:buClr>
              <a:buFont typeface="Arial" charset="0"/>
              <a:buNone/>
              <a:defRPr sz="1200">
                <a:solidFill>
                  <a:schemeClr val="tx1"/>
                </a:solidFill>
              </a:defRPr>
            </a:lvl2pPr>
            <a:lvl3pPr marL="857228" indent="-171446">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pic>
        <p:nvPicPr>
          <p:cNvPr id="16" name="Picture 15"/>
          <p:cNvPicPr>
            <a:picLocks noChangeAspect="1"/>
          </p:cNvPicPr>
          <p:nvPr userDrawn="1"/>
        </p:nvPicPr>
        <p:blipFill>
          <a:blip r:embed="rId2"/>
          <a:stretch>
            <a:fillRect/>
          </a:stretch>
        </p:blipFill>
        <p:spPr>
          <a:xfrm>
            <a:off x="5874818" y="4276167"/>
            <a:ext cx="3269181" cy="867334"/>
          </a:xfrm>
          <a:prstGeom prst="rect">
            <a:avLst/>
          </a:prstGeom>
        </p:spPr>
      </p:pic>
      <p:sp>
        <p:nvSpPr>
          <p:cNvPr id="17" name="Text Placeholder 2"/>
          <p:cNvSpPr>
            <a:spLocks noGrp="1"/>
          </p:cNvSpPr>
          <p:nvPr>
            <p:ph type="body" sz="quarter" idx="10"/>
          </p:nvPr>
        </p:nvSpPr>
        <p:spPr>
          <a:xfrm>
            <a:off x="6336065" y="4718248"/>
            <a:ext cx="2629785" cy="352425"/>
          </a:xfrm>
          <a:prstGeom prst="rect">
            <a:avLst/>
          </a:prstGeom>
        </p:spPr>
        <p:txBody>
          <a:bodyPr/>
          <a:lstStyle>
            <a:lvl1pPr marL="0" indent="0" algn="r">
              <a:buFontTx/>
              <a:buNone/>
              <a:defRPr sz="1200">
                <a:solidFill>
                  <a:schemeClr val="bg1"/>
                </a:solidFill>
              </a:defRPr>
            </a:lvl1pPr>
            <a:lvl2pPr marL="342892" indent="0">
              <a:buFontTx/>
              <a:buNone/>
              <a:defRPr>
                <a:solidFill>
                  <a:schemeClr val="bg1"/>
                </a:solidFill>
              </a:defRPr>
            </a:lvl2pPr>
            <a:lvl3pPr marL="685783" indent="0">
              <a:buFontTx/>
              <a:buNone/>
              <a:defRPr>
                <a:solidFill>
                  <a:schemeClr val="bg1"/>
                </a:solidFill>
              </a:defRPr>
            </a:lvl3pPr>
            <a:lvl4pPr marL="1028675" indent="0">
              <a:buFontTx/>
              <a:buNone/>
              <a:defRPr>
                <a:solidFill>
                  <a:schemeClr val="bg1"/>
                </a:solidFill>
              </a:defRPr>
            </a:lvl4pPr>
            <a:lvl5pPr marL="1371566" indent="0">
              <a:buFontTx/>
              <a:buNone/>
              <a:defRPr>
                <a:solidFill>
                  <a:schemeClr val="bg1"/>
                </a:solidFill>
              </a:defRPr>
            </a:lvl5pPr>
          </a:lstStyle>
          <a:p>
            <a:pPr lvl="0"/>
            <a:r>
              <a:rPr lang="en-US" dirty="0" smtClean="0"/>
              <a:t>Click to edit Master text </a:t>
            </a:r>
            <a:endParaRPr lang="en-US" dirty="0"/>
          </a:p>
        </p:txBody>
      </p:sp>
    </p:spTree>
    <p:extLst>
      <p:ext uri="{BB962C8B-B14F-4D97-AF65-F5344CB8AC3E}">
        <p14:creationId xmlns:p14="http://schemas.microsoft.com/office/powerpoint/2010/main" val="205273815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GSMA Title and Bullete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032860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203" name="think-cell Slide" r:id="rId4" imgW="423" imgH="424" progId="TCLayout.ActiveDocument.1">
                  <p:embed/>
                </p:oleObj>
              </mc:Choice>
              <mc:Fallback>
                <p:oleObj name="think-cell Slide" r:id="rId4" imgW="423" imgH="4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467544" y="1347614"/>
            <a:ext cx="8128882" cy="3185146"/>
          </a:xfrm>
          <a:prstGeom prst="rect">
            <a:avLst/>
          </a:prstGeom>
        </p:spPr>
        <p:txBody>
          <a:bodyPr/>
          <a:lstStyle>
            <a:lvl1pPr marL="342900" indent="-342900">
              <a:buClr>
                <a:srgbClr val="E30613"/>
              </a:buClr>
              <a:buSzPct val="90000"/>
              <a:buFont typeface="Wingdings" charset="2"/>
              <a:buChar char="§"/>
              <a:defRPr>
                <a:solidFill>
                  <a:schemeClr val="tx2"/>
                </a:solidFill>
              </a:defRPr>
            </a:lvl1pPr>
            <a:lvl2pPr marL="742950" indent="-285750">
              <a:buClr>
                <a:srgbClr val="E30613"/>
              </a:buClr>
              <a:buSzPct val="90000"/>
              <a:buFont typeface="Wingdings" charset="2"/>
              <a:buChar char="§"/>
              <a:defRPr>
                <a:solidFill>
                  <a:schemeClr val="tx2"/>
                </a:solidFill>
              </a:defRPr>
            </a:lvl2pPr>
            <a:lvl3pPr marL="1143000" indent="-228600">
              <a:buClr>
                <a:srgbClr val="E30613"/>
              </a:buClr>
              <a:buSzPct val="90000"/>
              <a:buFont typeface="Wingdings" charset="2"/>
              <a:buChar char="§"/>
              <a:defRPr>
                <a:solidFill>
                  <a:schemeClr val="tx2"/>
                </a:solidFill>
              </a:defRPr>
            </a:lvl3pPr>
            <a:lvl4pPr marL="1600200" indent="-228600">
              <a:buClr>
                <a:srgbClr val="E30613"/>
              </a:buClr>
              <a:buSzPct val="90000"/>
              <a:buFont typeface="Wingdings" charset="2"/>
              <a:buChar char="§"/>
              <a:defRPr>
                <a:solidFill>
                  <a:schemeClr val="tx2"/>
                </a:solidFill>
              </a:defRPr>
            </a:lvl4pPr>
            <a:lvl5pPr marL="2057400" indent="-228600">
              <a:buClr>
                <a:srgbClr val="E30613"/>
              </a:buClr>
              <a:buSzPct val="90000"/>
              <a:buFont typeface="Wingdings" charset="2"/>
              <a:buChar char="§"/>
              <a:defRPr>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Slide Number Placeholder 4"/>
          <p:cNvSpPr>
            <a:spLocks noGrp="1"/>
          </p:cNvSpPr>
          <p:nvPr>
            <p:ph type="sldNum" sz="quarter" idx="15"/>
          </p:nvPr>
        </p:nvSpPr>
        <p:spPr>
          <a:xfrm>
            <a:off x="420688" y="4826858"/>
            <a:ext cx="2133600" cy="273844"/>
          </a:xfrm>
        </p:spPr>
        <p:txBody>
          <a:bodyPr/>
          <a:lstStyle/>
          <a:p>
            <a:fld id="{E52D2AFC-71C4-4511-B128-4ECEE52D3027}" type="slidenum">
              <a:rPr lang="en-ZA" smtClean="0"/>
              <a:pPr/>
              <a:t>‹#›</a:t>
            </a:fld>
            <a:endParaRPr lang="en-ZA" dirty="0"/>
          </a:p>
        </p:txBody>
      </p:sp>
      <p:sp>
        <p:nvSpPr>
          <p:cNvPr id="5"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2247398166"/>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7" name="Text Placeholder 2"/>
          <p:cNvSpPr>
            <a:spLocks noGrp="1"/>
          </p:cNvSpPr>
          <p:nvPr>
            <p:ph idx="1" hasCustomPrompt="1"/>
          </p:nvPr>
        </p:nvSpPr>
        <p:spPr>
          <a:xfrm>
            <a:off x="3594538" y="1366081"/>
            <a:ext cx="4595647" cy="3142844"/>
          </a:xfrm>
          <a:prstGeom prst="rect">
            <a:avLst/>
          </a:prstGeom>
        </p:spPr>
        <p:txBody>
          <a:bodyPr vert="horz" lIns="91440" tIns="45720" rIns="91440" bIns="45720" rtlCol="0">
            <a:noAutofit/>
          </a:bodyPr>
          <a:lstStyle>
            <a:lvl1pPr marL="0" indent="0">
              <a:buNone/>
              <a:defRPr sz="900" baseline="0">
                <a:solidFill>
                  <a:schemeClr val="tx1"/>
                </a:solidFill>
              </a:defRPr>
            </a:lvl1pPr>
          </a:lstStyle>
          <a:p>
            <a:pPr lvl="0"/>
            <a:r>
              <a:rPr lang="en-JM" dirty="0"/>
              <a:t>Click to insert content</a:t>
            </a:r>
          </a:p>
        </p:txBody>
      </p:sp>
      <p:sp>
        <p:nvSpPr>
          <p:cNvPr id="8" name="Title Placeholder 1"/>
          <p:cNvSpPr>
            <a:spLocks noGrp="1"/>
          </p:cNvSpPr>
          <p:nvPr>
            <p:ph type="title"/>
          </p:nvPr>
        </p:nvSpPr>
        <p:spPr>
          <a:xfrm>
            <a:off x="3594538" y="864631"/>
            <a:ext cx="4595647" cy="432049"/>
          </a:xfrm>
          <a:prstGeom prst="rect">
            <a:avLst/>
          </a:prstGeom>
        </p:spPr>
        <p:txBody>
          <a:bodyPr vert="horz" lIns="91440" tIns="45720" rIns="91440" bIns="45720" rtlCol="0" anchor="t" anchorCtr="0">
            <a:normAutofit/>
          </a:bodyPr>
          <a:lstStyle>
            <a:lvl1pPr>
              <a:defRPr sz="2000">
                <a:solidFill>
                  <a:srgbClr val="00ACD4"/>
                </a:solidFill>
              </a:defRPr>
            </a:lvl1pPr>
          </a:lstStyle>
          <a:p>
            <a:r>
              <a:rPr lang="en-US" dirty="0"/>
              <a:t>Click to edit Master title style</a:t>
            </a:r>
            <a:endParaRPr lang="en-JM" dirty="0"/>
          </a:p>
        </p:txBody>
      </p:sp>
      <p:sp>
        <p:nvSpPr>
          <p:cNvPr id="13" name="Picture Placeholder 12"/>
          <p:cNvSpPr>
            <a:spLocks noGrp="1"/>
          </p:cNvSpPr>
          <p:nvPr>
            <p:ph type="pic" sz="quarter" idx="10"/>
          </p:nvPr>
        </p:nvSpPr>
        <p:spPr>
          <a:xfrm>
            <a:off x="-2796" y="-2604"/>
            <a:ext cx="3362588" cy="5149790"/>
          </a:xfrm>
          <a:custGeom>
            <a:avLst/>
            <a:gdLst>
              <a:gd name="connsiteX0" fmla="*/ 0 w 3359150"/>
              <a:gd name="connsiteY0" fmla="*/ 425100 h 5143500"/>
              <a:gd name="connsiteX1" fmla="*/ 425100 w 3359150"/>
              <a:gd name="connsiteY1" fmla="*/ 0 h 5143500"/>
              <a:gd name="connsiteX2" fmla="*/ 2934050 w 3359150"/>
              <a:gd name="connsiteY2" fmla="*/ 0 h 5143500"/>
              <a:gd name="connsiteX3" fmla="*/ 3359150 w 3359150"/>
              <a:gd name="connsiteY3" fmla="*/ 42510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2934050 w 3359150"/>
              <a:gd name="connsiteY2" fmla="*/ 0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1917015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3261309 w 3686409"/>
              <a:gd name="connsiteY5" fmla="*/ 5143500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2462412 w 3686409"/>
              <a:gd name="connsiteY5" fmla="*/ 4719988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67333"/>
              <a:gd name="connsiteY0" fmla="*/ 425100 h 5143500"/>
              <a:gd name="connsiteX1" fmla="*/ 2244274 w 3667333"/>
              <a:gd name="connsiteY1" fmla="*/ 0 h 5143500"/>
              <a:gd name="connsiteX2" fmla="*/ 3509121 w 3667333"/>
              <a:gd name="connsiteY2" fmla="*/ 1358598 h 5143500"/>
              <a:gd name="connsiteX3" fmla="*/ 3647908 w 3667333"/>
              <a:gd name="connsiteY3" fmla="*/ 2071020 h 5143500"/>
              <a:gd name="connsiteX4" fmla="*/ 3031891 w 3667333"/>
              <a:gd name="connsiteY4" fmla="*/ 4217886 h 5143500"/>
              <a:gd name="connsiteX5" fmla="*/ 2462412 w 3667333"/>
              <a:gd name="connsiteY5" fmla="*/ 4719988 h 5143500"/>
              <a:gd name="connsiteX6" fmla="*/ 752359 w 3667333"/>
              <a:gd name="connsiteY6" fmla="*/ 5143500 h 5143500"/>
              <a:gd name="connsiteX7" fmla="*/ 0 w 3667333"/>
              <a:gd name="connsiteY7" fmla="*/ 3447865 h 5143500"/>
              <a:gd name="connsiteX8" fmla="*/ 327259 w 3667333"/>
              <a:gd name="connsiteY8" fmla="*/ 425100 h 5143500"/>
              <a:gd name="connsiteX0" fmla="*/ 327259 w 3691611"/>
              <a:gd name="connsiteY0" fmla="*/ 425100 h 5143500"/>
              <a:gd name="connsiteX1" fmla="*/ 2244274 w 3691611"/>
              <a:gd name="connsiteY1" fmla="*/ 0 h 5143500"/>
              <a:gd name="connsiteX2" fmla="*/ 3509121 w 3691611"/>
              <a:gd name="connsiteY2" fmla="*/ 1358598 h 5143500"/>
              <a:gd name="connsiteX3" fmla="*/ 3647908 w 3691611"/>
              <a:gd name="connsiteY3" fmla="*/ 2071020 h 5143500"/>
              <a:gd name="connsiteX4" fmla="*/ 3031891 w 3691611"/>
              <a:gd name="connsiteY4" fmla="*/ 4217886 h 5143500"/>
              <a:gd name="connsiteX5" fmla="*/ 2462412 w 3691611"/>
              <a:gd name="connsiteY5" fmla="*/ 4719988 h 5143500"/>
              <a:gd name="connsiteX6" fmla="*/ 752359 w 3691611"/>
              <a:gd name="connsiteY6" fmla="*/ 5143500 h 5143500"/>
              <a:gd name="connsiteX7" fmla="*/ 0 w 3691611"/>
              <a:gd name="connsiteY7" fmla="*/ 3447865 h 5143500"/>
              <a:gd name="connsiteX8" fmla="*/ 327259 w 3691611"/>
              <a:gd name="connsiteY8" fmla="*/ 425100 h 5143500"/>
              <a:gd name="connsiteX0" fmla="*/ 327259 w 3686530"/>
              <a:gd name="connsiteY0" fmla="*/ 425100 h 5143500"/>
              <a:gd name="connsiteX1" fmla="*/ 2244274 w 3686530"/>
              <a:gd name="connsiteY1" fmla="*/ 0 h 5143500"/>
              <a:gd name="connsiteX2" fmla="*/ 3509121 w 3686530"/>
              <a:gd name="connsiteY2" fmla="*/ 1358598 h 5143500"/>
              <a:gd name="connsiteX3" fmla="*/ 3636847 w 3686530"/>
              <a:gd name="connsiteY3" fmla="*/ 2096830 h 5143500"/>
              <a:gd name="connsiteX4" fmla="*/ 3031891 w 3686530"/>
              <a:gd name="connsiteY4" fmla="*/ 4217886 h 5143500"/>
              <a:gd name="connsiteX5" fmla="*/ 2462412 w 3686530"/>
              <a:gd name="connsiteY5" fmla="*/ 4719988 h 5143500"/>
              <a:gd name="connsiteX6" fmla="*/ 752359 w 3686530"/>
              <a:gd name="connsiteY6" fmla="*/ 5143500 h 5143500"/>
              <a:gd name="connsiteX7" fmla="*/ 0 w 3686530"/>
              <a:gd name="connsiteY7" fmla="*/ 3447865 h 5143500"/>
              <a:gd name="connsiteX8" fmla="*/ 327259 w 3686530"/>
              <a:gd name="connsiteY8" fmla="*/ 425100 h 5143500"/>
              <a:gd name="connsiteX0" fmla="*/ 327259 w 3703888"/>
              <a:gd name="connsiteY0" fmla="*/ 425100 h 5143500"/>
              <a:gd name="connsiteX1" fmla="*/ 2244274 w 3703888"/>
              <a:gd name="connsiteY1" fmla="*/ 0 h 5143500"/>
              <a:gd name="connsiteX2" fmla="*/ 3509121 w 3703888"/>
              <a:gd name="connsiteY2" fmla="*/ 1358598 h 5143500"/>
              <a:gd name="connsiteX3" fmla="*/ 3636847 w 3703888"/>
              <a:gd name="connsiteY3" fmla="*/ 2096830 h 5143500"/>
              <a:gd name="connsiteX4" fmla="*/ 3031891 w 3703888"/>
              <a:gd name="connsiteY4" fmla="*/ 4217886 h 5143500"/>
              <a:gd name="connsiteX5" fmla="*/ 2462412 w 3703888"/>
              <a:gd name="connsiteY5" fmla="*/ 4719988 h 5143500"/>
              <a:gd name="connsiteX6" fmla="*/ 752359 w 3703888"/>
              <a:gd name="connsiteY6" fmla="*/ 5143500 h 5143500"/>
              <a:gd name="connsiteX7" fmla="*/ 0 w 3703888"/>
              <a:gd name="connsiteY7" fmla="*/ 3447865 h 5143500"/>
              <a:gd name="connsiteX8" fmla="*/ 327259 w 3703888"/>
              <a:gd name="connsiteY8" fmla="*/ 425100 h 5143500"/>
              <a:gd name="connsiteX0" fmla="*/ 327259 w 3682668"/>
              <a:gd name="connsiteY0" fmla="*/ 425100 h 5143500"/>
              <a:gd name="connsiteX1" fmla="*/ 2244274 w 3682668"/>
              <a:gd name="connsiteY1" fmla="*/ 0 h 5143500"/>
              <a:gd name="connsiteX2" fmla="*/ 3461189 w 3682668"/>
              <a:gd name="connsiteY2" fmla="*/ 1310666 h 5143500"/>
              <a:gd name="connsiteX3" fmla="*/ 3636847 w 3682668"/>
              <a:gd name="connsiteY3" fmla="*/ 2096830 h 5143500"/>
              <a:gd name="connsiteX4" fmla="*/ 3031891 w 3682668"/>
              <a:gd name="connsiteY4" fmla="*/ 4217886 h 5143500"/>
              <a:gd name="connsiteX5" fmla="*/ 2462412 w 3682668"/>
              <a:gd name="connsiteY5" fmla="*/ 4719988 h 5143500"/>
              <a:gd name="connsiteX6" fmla="*/ 752359 w 3682668"/>
              <a:gd name="connsiteY6" fmla="*/ 5143500 h 5143500"/>
              <a:gd name="connsiteX7" fmla="*/ 0 w 3682668"/>
              <a:gd name="connsiteY7" fmla="*/ 3447865 h 5143500"/>
              <a:gd name="connsiteX8" fmla="*/ 327259 w 3682668"/>
              <a:gd name="connsiteY8" fmla="*/ 425100 h 5143500"/>
              <a:gd name="connsiteX0" fmla="*/ 327259 w 3693650"/>
              <a:gd name="connsiteY0" fmla="*/ 425100 h 5143500"/>
              <a:gd name="connsiteX1" fmla="*/ 2244274 w 3693650"/>
              <a:gd name="connsiteY1" fmla="*/ 0 h 5143500"/>
              <a:gd name="connsiteX2" fmla="*/ 3461189 w 3693650"/>
              <a:gd name="connsiteY2" fmla="*/ 1310666 h 5143500"/>
              <a:gd name="connsiteX3" fmla="*/ 3636847 w 3693650"/>
              <a:gd name="connsiteY3" fmla="*/ 2096830 h 5143500"/>
              <a:gd name="connsiteX4" fmla="*/ 3031891 w 3693650"/>
              <a:gd name="connsiteY4" fmla="*/ 4217886 h 5143500"/>
              <a:gd name="connsiteX5" fmla="*/ 2462412 w 3693650"/>
              <a:gd name="connsiteY5" fmla="*/ 4719988 h 5143500"/>
              <a:gd name="connsiteX6" fmla="*/ 752359 w 3693650"/>
              <a:gd name="connsiteY6" fmla="*/ 5143500 h 5143500"/>
              <a:gd name="connsiteX7" fmla="*/ 0 w 3693650"/>
              <a:gd name="connsiteY7" fmla="*/ 3447865 h 5143500"/>
              <a:gd name="connsiteX8" fmla="*/ 327259 w 3693650"/>
              <a:gd name="connsiteY8" fmla="*/ 425100 h 5143500"/>
              <a:gd name="connsiteX0" fmla="*/ 327259 w 3688927"/>
              <a:gd name="connsiteY0" fmla="*/ 425100 h 5143500"/>
              <a:gd name="connsiteX1" fmla="*/ 2244274 w 3688927"/>
              <a:gd name="connsiteY1" fmla="*/ 0 h 5143500"/>
              <a:gd name="connsiteX2" fmla="*/ 3461189 w 3688927"/>
              <a:gd name="connsiteY2" fmla="*/ 1310666 h 5143500"/>
              <a:gd name="connsiteX3" fmla="*/ 3636847 w 3688927"/>
              <a:gd name="connsiteY3" fmla="*/ 2096830 h 5143500"/>
              <a:gd name="connsiteX4" fmla="*/ 3031891 w 3688927"/>
              <a:gd name="connsiteY4" fmla="*/ 4217886 h 5143500"/>
              <a:gd name="connsiteX5" fmla="*/ 2462412 w 3688927"/>
              <a:gd name="connsiteY5" fmla="*/ 4719988 h 5143500"/>
              <a:gd name="connsiteX6" fmla="*/ 752359 w 3688927"/>
              <a:gd name="connsiteY6" fmla="*/ 5143500 h 5143500"/>
              <a:gd name="connsiteX7" fmla="*/ 0 w 3688927"/>
              <a:gd name="connsiteY7" fmla="*/ 3447865 h 5143500"/>
              <a:gd name="connsiteX8" fmla="*/ 327259 w 3688927"/>
              <a:gd name="connsiteY8" fmla="*/ 425100 h 5143500"/>
              <a:gd name="connsiteX0" fmla="*/ 327259 w 3693208"/>
              <a:gd name="connsiteY0" fmla="*/ 425100 h 5143500"/>
              <a:gd name="connsiteX1" fmla="*/ 2244274 w 3693208"/>
              <a:gd name="connsiteY1" fmla="*/ 0 h 5143500"/>
              <a:gd name="connsiteX2" fmla="*/ 3472251 w 3693208"/>
              <a:gd name="connsiteY2" fmla="*/ 1318040 h 5143500"/>
              <a:gd name="connsiteX3" fmla="*/ 3636847 w 3693208"/>
              <a:gd name="connsiteY3" fmla="*/ 2096830 h 5143500"/>
              <a:gd name="connsiteX4" fmla="*/ 3031891 w 3693208"/>
              <a:gd name="connsiteY4" fmla="*/ 4217886 h 5143500"/>
              <a:gd name="connsiteX5" fmla="*/ 2462412 w 3693208"/>
              <a:gd name="connsiteY5" fmla="*/ 4719988 h 5143500"/>
              <a:gd name="connsiteX6" fmla="*/ 752359 w 3693208"/>
              <a:gd name="connsiteY6" fmla="*/ 5143500 h 5143500"/>
              <a:gd name="connsiteX7" fmla="*/ 0 w 3693208"/>
              <a:gd name="connsiteY7" fmla="*/ 3447865 h 5143500"/>
              <a:gd name="connsiteX8" fmla="*/ 327259 w 3693208"/>
              <a:gd name="connsiteY8" fmla="*/ 425100 h 5143500"/>
              <a:gd name="connsiteX0" fmla="*/ 327259 w 3689737"/>
              <a:gd name="connsiteY0" fmla="*/ 425100 h 5143500"/>
              <a:gd name="connsiteX1" fmla="*/ 2244274 w 3689737"/>
              <a:gd name="connsiteY1" fmla="*/ 0 h 5143500"/>
              <a:gd name="connsiteX2" fmla="*/ 3472251 w 3689737"/>
              <a:gd name="connsiteY2" fmla="*/ 1318040 h 5143500"/>
              <a:gd name="connsiteX3" fmla="*/ 3636847 w 3689737"/>
              <a:gd name="connsiteY3" fmla="*/ 2096830 h 5143500"/>
              <a:gd name="connsiteX4" fmla="*/ 3031891 w 3689737"/>
              <a:gd name="connsiteY4" fmla="*/ 4217886 h 5143500"/>
              <a:gd name="connsiteX5" fmla="*/ 2462412 w 3689737"/>
              <a:gd name="connsiteY5" fmla="*/ 4719988 h 5143500"/>
              <a:gd name="connsiteX6" fmla="*/ 752359 w 3689737"/>
              <a:gd name="connsiteY6" fmla="*/ 5143500 h 5143500"/>
              <a:gd name="connsiteX7" fmla="*/ 0 w 3689737"/>
              <a:gd name="connsiteY7" fmla="*/ 3447865 h 5143500"/>
              <a:gd name="connsiteX8" fmla="*/ 327259 w 3689737"/>
              <a:gd name="connsiteY8" fmla="*/ 425100 h 5143500"/>
              <a:gd name="connsiteX0" fmla="*/ 327259 w 3692863"/>
              <a:gd name="connsiteY0" fmla="*/ 425100 h 5143500"/>
              <a:gd name="connsiteX1" fmla="*/ 2244274 w 3692863"/>
              <a:gd name="connsiteY1" fmla="*/ 0 h 5143500"/>
              <a:gd name="connsiteX2" fmla="*/ 3472251 w 3692863"/>
              <a:gd name="connsiteY2" fmla="*/ 1318040 h 5143500"/>
              <a:gd name="connsiteX3" fmla="*/ 3636847 w 3692863"/>
              <a:gd name="connsiteY3" fmla="*/ 2096830 h 5143500"/>
              <a:gd name="connsiteX4" fmla="*/ 3031891 w 3692863"/>
              <a:gd name="connsiteY4" fmla="*/ 4217886 h 5143500"/>
              <a:gd name="connsiteX5" fmla="*/ 2462412 w 3692863"/>
              <a:gd name="connsiteY5" fmla="*/ 4719988 h 5143500"/>
              <a:gd name="connsiteX6" fmla="*/ 752359 w 3692863"/>
              <a:gd name="connsiteY6" fmla="*/ 5143500 h 5143500"/>
              <a:gd name="connsiteX7" fmla="*/ 0 w 3692863"/>
              <a:gd name="connsiteY7" fmla="*/ 3447865 h 5143500"/>
              <a:gd name="connsiteX8" fmla="*/ 327259 w 3692863"/>
              <a:gd name="connsiteY8" fmla="*/ 425100 h 5143500"/>
              <a:gd name="connsiteX0" fmla="*/ 327259 w 3697188"/>
              <a:gd name="connsiteY0" fmla="*/ 425100 h 5143500"/>
              <a:gd name="connsiteX1" fmla="*/ 2244274 w 3697188"/>
              <a:gd name="connsiteY1" fmla="*/ 0 h 5143500"/>
              <a:gd name="connsiteX2" fmla="*/ 3483312 w 3697188"/>
              <a:gd name="connsiteY2" fmla="*/ 1325414 h 5143500"/>
              <a:gd name="connsiteX3" fmla="*/ 3636847 w 3697188"/>
              <a:gd name="connsiteY3" fmla="*/ 2096830 h 5143500"/>
              <a:gd name="connsiteX4" fmla="*/ 3031891 w 3697188"/>
              <a:gd name="connsiteY4" fmla="*/ 4217886 h 5143500"/>
              <a:gd name="connsiteX5" fmla="*/ 2462412 w 3697188"/>
              <a:gd name="connsiteY5" fmla="*/ 4719988 h 5143500"/>
              <a:gd name="connsiteX6" fmla="*/ 752359 w 3697188"/>
              <a:gd name="connsiteY6" fmla="*/ 5143500 h 5143500"/>
              <a:gd name="connsiteX7" fmla="*/ 0 w 3697188"/>
              <a:gd name="connsiteY7" fmla="*/ 3447865 h 5143500"/>
              <a:gd name="connsiteX8" fmla="*/ 327259 w 3697188"/>
              <a:gd name="connsiteY8" fmla="*/ 425100 h 5143500"/>
              <a:gd name="connsiteX0" fmla="*/ 327259 w 3687052"/>
              <a:gd name="connsiteY0" fmla="*/ 425100 h 5143500"/>
              <a:gd name="connsiteX1" fmla="*/ 2244274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63749 w 3423542"/>
              <a:gd name="connsiteY0" fmla="*/ 425100 h 5150874"/>
              <a:gd name="connsiteX1" fmla="*/ 1947580 w 3423542"/>
              <a:gd name="connsiteY1" fmla="*/ 0 h 5150874"/>
              <a:gd name="connsiteX2" fmla="*/ 3219802 w 3423542"/>
              <a:gd name="connsiteY2" fmla="*/ 1325414 h 5150874"/>
              <a:gd name="connsiteX3" fmla="*/ 3373337 w 3423542"/>
              <a:gd name="connsiteY3" fmla="*/ 2096830 h 5150874"/>
              <a:gd name="connsiteX4" fmla="*/ 2749946 w 3423542"/>
              <a:gd name="connsiteY4" fmla="*/ 4225261 h 5150874"/>
              <a:gd name="connsiteX5" fmla="*/ 2198902 w 3423542"/>
              <a:gd name="connsiteY5" fmla="*/ 4719988 h 5150874"/>
              <a:gd name="connsiteX6" fmla="*/ 433542 w 3423542"/>
              <a:gd name="connsiteY6" fmla="*/ 5150874 h 5150874"/>
              <a:gd name="connsiteX7" fmla="*/ 60954 w 3423542"/>
              <a:gd name="connsiteY7" fmla="*/ 5143930 h 5150874"/>
              <a:gd name="connsiteX8" fmla="*/ 63749 w 3423542"/>
              <a:gd name="connsiteY8" fmla="*/ 425100 h 5150874"/>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2795 w 3362588"/>
              <a:gd name="connsiteY0" fmla="*/ 425100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2795 w 3362588"/>
              <a:gd name="connsiteY8" fmla="*/ 425100 h 5147187"/>
              <a:gd name="connsiteX0" fmla="*/ 2795 w 3362588"/>
              <a:gd name="connsiteY0" fmla="*/ 0 h 5160852"/>
              <a:gd name="connsiteX1" fmla="*/ 1886626 w 3362588"/>
              <a:gd name="connsiteY1" fmla="*/ 13665 h 5160852"/>
              <a:gd name="connsiteX2" fmla="*/ 3158848 w 3362588"/>
              <a:gd name="connsiteY2" fmla="*/ 1339079 h 5160852"/>
              <a:gd name="connsiteX3" fmla="*/ 3312383 w 3362588"/>
              <a:gd name="connsiteY3" fmla="*/ 2110495 h 5160852"/>
              <a:gd name="connsiteX4" fmla="*/ 2688992 w 3362588"/>
              <a:gd name="connsiteY4" fmla="*/ 4238926 h 5160852"/>
              <a:gd name="connsiteX5" fmla="*/ 2137948 w 3362588"/>
              <a:gd name="connsiteY5" fmla="*/ 4733653 h 5160852"/>
              <a:gd name="connsiteX6" fmla="*/ 379962 w 3362588"/>
              <a:gd name="connsiteY6" fmla="*/ 5160852 h 5160852"/>
              <a:gd name="connsiteX7" fmla="*/ 0 w 3362588"/>
              <a:gd name="connsiteY7" fmla="*/ 5157595 h 5160852"/>
              <a:gd name="connsiteX8" fmla="*/ 2795 w 3362588"/>
              <a:gd name="connsiteY8" fmla="*/ 0 h 5160852"/>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6482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6482 w 3362588"/>
              <a:gd name="connsiteY8" fmla="*/ 0 h 5149790"/>
              <a:gd name="connsiteX0" fmla="*/ 6482 w 3362588"/>
              <a:gd name="connsiteY0" fmla="*/ 572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6482 w 3362588"/>
              <a:gd name="connsiteY8" fmla="*/ 572 h 5147187"/>
              <a:gd name="connsiteX0" fmla="*/ 132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132 w 3362588"/>
              <a:gd name="connsiteY8" fmla="*/ 3747 h 5147187"/>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3307 w 3362588"/>
              <a:gd name="connsiteY8" fmla="*/ 3747 h 5147187"/>
              <a:gd name="connsiteX0" fmla="*/ 3307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3307 w 3362588"/>
              <a:gd name="connsiteY8" fmla="*/ 0 h 514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2588" h="5149790">
                <a:moveTo>
                  <a:pt x="3307" y="0"/>
                </a:moveTo>
                <a:cubicBezTo>
                  <a:pt x="6994" y="4885"/>
                  <a:pt x="1651850" y="2603"/>
                  <a:pt x="1886626" y="2603"/>
                </a:cubicBezTo>
                <a:lnTo>
                  <a:pt x="3158848" y="1328017"/>
                </a:lnTo>
                <a:cubicBezTo>
                  <a:pt x="3415745" y="1619297"/>
                  <a:pt x="3382438" y="1827787"/>
                  <a:pt x="3312383" y="2099433"/>
                </a:cubicBezTo>
                <a:cubicBezTo>
                  <a:pt x="3139128" y="2654634"/>
                  <a:pt x="2781364" y="3951175"/>
                  <a:pt x="2688992" y="4227864"/>
                </a:cubicBezTo>
                <a:cubicBezTo>
                  <a:pt x="2582066" y="4525320"/>
                  <a:pt x="2475962" y="4619353"/>
                  <a:pt x="2137948" y="4722591"/>
                </a:cubicBezTo>
                <a:lnTo>
                  <a:pt x="379962" y="5149790"/>
                </a:lnTo>
                <a:cubicBezTo>
                  <a:pt x="384848" y="5146103"/>
                  <a:pt x="7374" y="5149022"/>
                  <a:pt x="0" y="5146533"/>
                </a:cubicBezTo>
                <a:cubicBezTo>
                  <a:pt x="3390" y="5151668"/>
                  <a:pt x="3605" y="9614"/>
                  <a:pt x="3307" y="0"/>
                </a:cubicBezTo>
                <a:close/>
              </a:path>
            </a:pathLst>
          </a:custGeom>
        </p:spPr>
        <p:txBody>
          <a:bodyPr anchor="ctr"/>
          <a:lstStyle>
            <a:lvl1pPr algn="ctr">
              <a:defRPr/>
            </a:lvl1pPr>
          </a:lstStyle>
          <a:p>
            <a:endParaRPr lang="en-US"/>
          </a:p>
        </p:txBody>
      </p:sp>
      <p:sp>
        <p:nvSpPr>
          <p:cNvPr id="5" name="Text Placeholder 2"/>
          <p:cNvSpPr>
            <a:spLocks noGrp="1"/>
          </p:cNvSpPr>
          <p:nvPr>
            <p:ph type="body" sz="quarter" idx="11"/>
          </p:nvPr>
        </p:nvSpPr>
        <p:spPr>
          <a:xfrm>
            <a:off x="6336065" y="4718248"/>
            <a:ext cx="2629785" cy="352425"/>
          </a:xfrm>
          <a:prstGeom prst="rect">
            <a:avLst/>
          </a:prstGeom>
        </p:spPr>
        <p:txBody>
          <a:bodyPr/>
          <a:lstStyle>
            <a:lvl1pPr marL="0" indent="0" algn="r">
              <a:buFontTx/>
              <a:buNone/>
              <a:defRPr sz="1200">
                <a:solidFill>
                  <a:schemeClr val="bg1"/>
                </a:solidFill>
              </a:defRPr>
            </a:lvl1pPr>
            <a:lvl2pPr marL="342892" indent="0">
              <a:buFontTx/>
              <a:buNone/>
              <a:defRPr>
                <a:solidFill>
                  <a:schemeClr val="bg1"/>
                </a:solidFill>
              </a:defRPr>
            </a:lvl2pPr>
            <a:lvl3pPr marL="685783" indent="0">
              <a:buFontTx/>
              <a:buNone/>
              <a:defRPr>
                <a:solidFill>
                  <a:schemeClr val="bg1"/>
                </a:solidFill>
              </a:defRPr>
            </a:lvl3pPr>
            <a:lvl4pPr marL="1028675" indent="0">
              <a:buFontTx/>
              <a:buNone/>
              <a:defRPr>
                <a:solidFill>
                  <a:schemeClr val="bg1"/>
                </a:solidFill>
              </a:defRPr>
            </a:lvl4pPr>
            <a:lvl5pPr marL="1371566" indent="0">
              <a:buFontTx/>
              <a:buNone/>
              <a:defRPr>
                <a:solidFill>
                  <a:schemeClr val="bg1"/>
                </a:solidFill>
              </a:defRPr>
            </a:lvl5pPr>
          </a:lstStyle>
          <a:p>
            <a:pPr lvl="0"/>
            <a:r>
              <a:rPr lang="en-US" dirty="0" smtClean="0"/>
              <a:t>Click to edit Master text </a:t>
            </a:r>
            <a:endParaRPr lang="en-US" dirty="0"/>
          </a:p>
        </p:txBody>
      </p:sp>
      <p:cxnSp>
        <p:nvCxnSpPr>
          <p:cNvPr id="10" name="Straight Connector 9"/>
          <p:cNvCxnSpPr/>
          <p:nvPr userDrawn="1"/>
        </p:nvCxnSpPr>
        <p:spPr>
          <a:xfrm>
            <a:off x="3594538" y="4314112"/>
            <a:ext cx="3806927" cy="0"/>
          </a:xfrm>
          <a:prstGeom prst="line">
            <a:avLst/>
          </a:prstGeom>
          <a:ln>
            <a:solidFill>
              <a:srgbClr val="00ACD4"/>
            </a:solidFill>
          </a:ln>
        </p:spPr>
        <p:style>
          <a:lnRef idx="1">
            <a:schemeClr val="accent1"/>
          </a:lnRef>
          <a:fillRef idx="0">
            <a:schemeClr val="accent1"/>
          </a:fillRef>
          <a:effectRef idx="0">
            <a:schemeClr val="accent1"/>
          </a:effectRef>
          <a:fontRef idx="minor">
            <a:schemeClr val="tx1"/>
          </a:fontRef>
        </p:style>
      </p:cxnSp>
      <p:sp>
        <p:nvSpPr>
          <p:cNvPr id="11" name="Content Placeholder 2"/>
          <p:cNvSpPr>
            <a:spLocks noGrp="1"/>
          </p:cNvSpPr>
          <p:nvPr>
            <p:ph sz="half" idx="12" hasCustomPrompt="1"/>
          </p:nvPr>
        </p:nvSpPr>
        <p:spPr>
          <a:xfrm>
            <a:off x="3594537" y="4369698"/>
            <a:ext cx="4038600" cy="536188"/>
          </a:xfrm>
          <a:prstGeom prst="rect">
            <a:avLst/>
          </a:prstGeom>
        </p:spPr>
        <p:txBody>
          <a:bodyPr>
            <a:normAutofit/>
          </a:bodyPr>
          <a:lstStyle>
            <a:lvl1pPr marL="0" indent="0">
              <a:buClr>
                <a:srgbClr val="00ACD4"/>
              </a:buClr>
              <a:buFont typeface="Arial" charset="0"/>
              <a:buNone/>
              <a:defRPr sz="600" baseline="0">
                <a:solidFill>
                  <a:schemeClr val="tx1"/>
                </a:solidFill>
              </a:defRPr>
            </a:lvl1pPr>
            <a:lvl2pPr marL="342892" indent="0">
              <a:buClr>
                <a:srgbClr val="00ACD4"/>
              </a:buClr>
              <a:buFont typeface="Arial" charset="0"/>
              <a:buNone/>
              <a:defRPr sz="1200">
                <a:solidFill>
                  <a:schemeClr val="tx1"/>
                </a:solidFill>
              </a:defRPr>
            </a:lvl2pPr>
            <a:lvl3pPr marL="857228" indent="-171446">
              <a:buClr>
                <a:srgbClr val="00ACD4"/>
              </a:buClr>
              <a:buFont typeface="Arial" charset="0"/>
              <a:buChar char="•"/>
              <a:defRPr sz="1100">
                <a:solidFill>
                  <a:schemeClr val="tx1"/>
                </a:solidFill>
              </a:defRPr>
            </a:lvl3pPr>
            <a:lvl4pPr>
              <a:buClr>
                <a:schemeClr val="bg1"/>
              </a:buClr>
              <a:defRPr sz="1050">
                <a:solidFill>
                  <a:schemeClr val="tx1"/>
                </a:solidFill>
              </a:defRPr>
            </a:lvl4pPr>
            <a:lvl5pPr>
              <a:buClr>
                <a:schemeClr val="bg1"/>
              </a:buClr>
              <a:defRPr sz="1050">
                <a:solidFill>
                  <a:schemeClr val="tx1"/>
                </a:solidFill>
              </a:defRPr>
            </a:lvl5pPr>
            <a:lvl6pPr>
              <a:defRPr sz="1350"/>
            </a:lvl6pPr>
            <a:lvl7pPr>
              <a:defRPr sz="1350"/>
            </a:lvl7pPr>
            <a:lvl8pPr>
              <a:defRPr sz="1350"/>
            </a:lvl8pPr>
            <a:lvl9pPr>
              <a:defRPr sz="1350"/>
            </a:lvl9pPr>
          </a:lstStyle>
          <a:p>
            <a:pPr lvl="0"/>
            <a:r>
              <a:rPr lang="en-US" dirty="0" smtClean="0"/>
              <a:t>1. Click to add references</a:t>
            </a:r>
            <a:endParaRPr lang="en-US" dirty="0"/>
          </a:p>
        </p:txBody>
      </p:sp>
    </p:spTree>
    <p:extLst>
      <p:ext uri="{BB962C8B-B14F-4D97-AF65-F5344CB8AC3E}">
        <p14:creationId xmlns:p14="http://schemas.microsoft.com/office/powerpoint/2010/main" val="3122870893"/>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l="43713"/>
          <a:stretch/>
        </p:blipFill>
        <p:spPr>
          <a:xfrm>
            <a:off x="0" y="-18321"/>
            <a:ext cx="9144000" cy="5161823"/>
          </a:xfrm>
          <a:prstGeom prst="rect">
            <a:avLst/>
          </a:prstGeom>
        </p:spPr>
      </p:pic>
      <p:pic>
        <p:nvPicPr>
          <p:cNvPr id="4" name="Picture 3"/>
          <p:cNvPicPr>
            <a:picLocks noChangeAspect="1"/>
          </p:cNvPicPr>
          <p:nvPr userDrawn="1"/>
        </p:nvPicPr>
        <p:blipFill>
          <a:blip r:embed="rId3"/>
          <a:stretch>
            <a:fillRect/>
          </a:stretch>
        </p:blipFill>
        <p:spPr>
          <a:xfrm>
            <a:off x="434105" y="392127"/>
            <a:ext cx="617861" cy="617861"/>
          </a:xfrm>
          <a:prstGeom prst="rect">
            <a:avLst/>
          </a:prstGeom>
        </p:spPr>
      </p:pic>
      <p:sp>
        <p:nvSpPr>
          <p:cNvPr id="5" name="TextBox 4"/>
          <p:cNvSpPr txBox="1"/>
          <p:nvPr userDrawn="1"/>
        </p:nvSpPr>
        <p:spPr>
          <a:xfrm>
            <a:off x="321961" y="4313908"/>
            <a:ext cx="5233451" cy="523220"/>
          </a:xfrm>
          <a:prstGeom prst="rect">
            <a:avLst/>
          </a:prstGeom>
          <a:noFill/>
        </p:spPr>
        <p:txBody>
          <a:bodyPr wrap="square" rtlCol="0">
            <a:spAutoFit/>
          </a:bodyPr>
          <a:lstStyle/>
          <a:p>
            <a:r>
              <a:rPr lang="en-US" sz="1400" dirty="0" smtClean="0">
                <a:solidFill>
                  <a:schemeClr val="bg1"/>
                </a:solidFill>
                <a:latin typeface="Arial" charset="0"/>
                <a:ea typeface="Arial" charset="0"/>
                <a:cs typeface="Arial" charset="0"/>
              </a:rPr>
              <a:t>To download the full report please visit </a:t>
            </a:r>
          </a:p>
          <a:p>
            <a:r>
              <a:rPr lang="en-US" sz="1400" dirty="0" smtClean="0">
                <a:solidFill>
                  <a:schemeClr val="bg1"/>
                </a:solidFill>
                <a:latin typeface="Arial" charset="0"/>
                <a:ea typeface="Arial" charset="0"/>
                <a:cs typeface="Arial" charset="0"/>
              </a:rPr>
              <a:t>the GSMA website at </a:t>
            </a:r>
            <a:r>
              <a:rPr lang="en-US" sz="1400" b="1" dirty="0" err="1" smtClean="0">
                <a:solidFill>
                  <a:schemeClr val="bg1"/>
                </a:solidFill>
                <a:latin typeface="Arial" charset="0"/>
                <a:ea typeface="Arial" charset="0"/>
                <a:cs typeface="Arial" charset="0"/>
              </a:rPr>
              <a:t>www.gsma.com</a:t>
            </a:r>
            <a:r>
              <a:rPr lang="en-US" sz="1400" b="1" dirty="0" smtClean="0">
                <a:solidFill>
                  <a:schemeClr val="bg1"/>
                </a:solidFill>
                <a:latin typeface="Arial" charset="0"/>
                <a:ea typeface="Arial" charset="0"/>
                <a:cs typeface="Arial" charset="0"/>
              </a:rPr>
              <a:t>/</a:t>
            </a:r>
            <a:r>
              <a:rPr lang="en-US" sz="1400" b="1" dirty="0" err="1" smtClean="0">
                <a:solidFill>
                  <a:schemeClr val="bg1"/>
                </a:solidFill>
                <a:latin typeface="Arial" charset="0"/>
                <a:ea typeface="Arial" charset="0"/>
                <a:cs typeface="Arial" charset="0"/>
              </a:rPr>
              <a:t>sotir</a:t>
            </a:r>
            <a:endParaRPr lang="en-US" sz="1400" b="1"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2719646182"/>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GSMA Title and Bullete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8738528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3394" name="think-cell Slide" r:id="rId4" imgW="423" imgH="424" progId="TCLayout.ActiveDocument.1">
                  <p:embed/>
                </p:oleObj>
              </mc:Choice>
              <mc:Fallback>
                <p:oleObj name="think-cell Slide" r:id="rId4" imgW="423" imgH="424"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idx="1"/>
          </p:nvPr>
        </p:nvSpPr>
        <p:spPr>
          <a:xfrm>
            <a:off x="467544" y="1347615"/>
            <a:ext cx="8128882" cy="3185146"/>
          </a:xfrm>
          <a:prstGeom prst="rect">
            <a:avLst/>
          </a:prstGeom>
        </p:spPr>
        <p:txBody>
          <a:bodyPr/>
          <a:lstStyle>
            <a:lvl1pPr marL="342892" indent="-342892">
              <a:buClr>
                <a:srgbClr val="E30613"/>
              </a:buClr>
              <a:buSzPct val="90000"/>
              <a:buFont typeface="Wingdings" charset="2"/>
              <a:buChar char="§"/>
              <a:defRPr>
                <a:solidFill>
                  <a:schemeClr val="tx2"/>
                </a:solidFill>
              </a:defRPr>
            </a:lvl1pPr>
            <a:lvl2pPr marL="742931" indent="-285743">
              <a:buClr>
                <a:srgbClr val="E30613"/>
              </a:buClr>
              <a:buSzPct val="90000"/>
              <a:buFont typeface="Wingdings" charset="2"/>
              <a:buChar char="§"/>
              <a:defRPr>
                <a:solidFill>
                  <a:schemeClr val="tx2"/>
                </a:solidFill>
              </a:defRPr>
            </a:lvl2pPr>
            <a:lvl3pPr marL="1142972" indent="-228594">
              <a:buClr>
                <a:srgbClr val="E30613"/>
              </a:buClr>
              <a:buSzPct val="90000"/>
              <a:buFont typeface="Wingdings" charset="2"/>
              <a:buChar char="§"/>
              <a:defRPr>
                <a:solidFill>
                  <a:schemeClr val="tx2"/>
                </a:solidFill>
              </a:defRPr>
            </a:lvl3pPr>
            <a:lvl4pPr marL="1600160" indent="-228594">
              <a:buClr>
                <a:srgbClr val="E30613"/>
              </a:buClr>
              <a:buSzPct val="90000"/>
              <a:buFont typeface="Wingdings" charset="2"/>
              <a:buChar char="§"/>
              <a:defRPr>
                <a:solidFill>
                  <a:schemeClr val="tx2"/>
                </a:solidFill>
              </a:defRPr>
            </a:lvl4pPr>
            <a:lvl5pPr marL="2057348" indent="-228594">
              <a:buClr>
                <a:srgbClr val="E30613"/>
              </a:buClr>
              <a:buSzPct val="90000"/>
              <a:buFont typeface="Wingdings" charset="2"/>
              <a:buChar char="§"/>
              <a:defRPr>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Slide Number Placeholder 4"/>
          <p:cNvSpPr>
            <a:spLocks noGrp="1"/>
          </p:cNvSpPr>
          <p:nvPr>
            <p:ph type="sldNum" sz="quarter" idx="15"/>
          </p:nvPr>
        </p:nvSpPr>
        <p:spPr>
          <a:xfrm>
            <a:off x="420688" y="4826859"/>
            <a:ext cx="2133600" cy="273844"/>
          </a:xfrm>
        </p:spPr>
        <p:txBody>
          <a:bodyPr/>
          <a:lstStyle/>
          <a:p>
            <a:fld id="{E52D2AFC-71C4-4511-B128-4ECEE52D3027}" type="slidenum">
              <a:rPr lang="en-ZA" smtClean="0"/>
              <a:pPr/>
              <a:t>‹#›</a:t>
            </a:fld>
            <a:endParaRPr lang="en-ZA" dirty="0"/>
          </a:p>
        </p:txBody>
      </p:sp>
      <p:sp>
        <p:nvSpPr>
          <p:cNvPr id="5"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70585822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x">
  <p:cSld name="1_Full Page RED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93003355"/>
              </p:ext>
            </p:extLst>
          </p:nvPr>
        </p:nvGraphicFramePr>
        <p:xfrm>
          <a:off x="894" y="894"/>
          <a:ext cx="893" cy="893"/>
        </p:xfrm>
        <a:graphic>
          <a:graphicData uri="http://schemas.openxmlformats.org/presentationml/2006/ole">
            <mc:AlternateContent xmlns:mc="http://schemas.openxmlformats.org/markup-compatibility/2006">
              <mc:Choice xmlns:v="urn:schemas-microsoft-com:vml" Requires="v">
                <p:oleObj spid="_x0000_s94418"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894" y="894"/>
                        <a:ext cx="893" cy="893"/>
                      </a:xfrm>
                      <a:prstGeom prst="rect">
                        <a:avLst/>
                      </a:prstGeom>
                    </p:spPr>
                  </p:pic>
                </p:oleObj>
              </mc:Fallback>
            </mc:AlternateContent>
          </a:graphicData>
        </a:graphic>
      </p:graphicFrame>
      <p:grpSp>
        <p:nvGrpSpPr>
          <p:cNvPr id="53" name="Group 53"/>
          <p:cNvGrpSpPr/>
          <p:nvPr userDrawn="1"/>
        </p:nvGrpSpPr>
        <p:grpSpPr>
          <a:xfrm>
            <a:off x="319088" y="319088"/>
            <a:ext cx="596254" cy="596247"/>
            <a:chOff x="0" y="0"/>
            <a:chExt cx="1060006" cy="1059993"/>
          </a:xfrm>
        </p:grpSpPr>
        <p:sp>
          <p:nvSpPr>
            <p:cNvPr id="39" name="Shape 39"/>
            <p:cNvSpPr/>
            <p:nvPr/>
          </p:nvSpPr>
          <p:spPr>
            <a:xfrm>
              <a:off x="0" y="0"/>
              <a:ext cx="1060006" cy="105999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cubicBezTo>
                    <a:pt x="0" y="0"/>
                    <a:pt x="0" y="21600"/>
                    <a:pt x="0" y="21600"/>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0" name="Shape 40"/>
            <p:cNvSpPr/>
            <p:nvPr/>
          </p:nvSpPr>
          <p:spPr>
            <a:xfrm>
              <a:off x="12700" y="12700"/>
              <a:ext cx="1033501" cy="10335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cubicBezTo>
                    <a:pt x="0" y="0"/>
                    <a:pt x="0" y="21600"/>
                    <a:pt x="0" y="21600"/>
                  </a:cubicBezTo>
                  <a:close/>
                </a:path>
              </a:pathLst>
            </a:custGeom>
            <a:solidFill>
              <a:srgbClr val="000000"/>
            </a:solidFill>
            <a:ln w="12700" cap="flat">
              <a:noFill/>
              <a:miter lim="400000"/>
            </a:ln>
            <a:effectLst/>
          </p:spPr>
          <p:txBody>
            <a:bodyPr wrap="square" lIns="38100" tIns="38100" rIns="38100" bIns="38100" numCol="1" anchor="ctr">
              <a:noAutofit/>
            </a:bodyPr>
            <a:lstStyle/>
            <a:p>
              <a:pPr marL="0" indent="0" algn="ctr" defTabSz="2571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1" name="Shape 41"/>
            <p:cNvSpPr/>
            <p:nvPr/>
          </p:nvSpPr>
          <p:spPr>
            <a:xfrm>
              <a:off x="101600" y="647700"/>
              <a:ext cx="192990" cy="136919"/>
            </a:xfrm>
            <a:custGeom>
              <a:avLst/>
              <a:gdLst/>
              <a:ahLst/>
              <a:cxnLst>
                <a:cxn ang="0">
                  <a:pos x="wd2" y="hd2"/>
                </a:cxn>
                <a:cxn ang="5400000">
                  <a:pos x="wd2" y="hd2"/>
                </a:cxn>
                <a:cxn ang="10800000">
                  <a:pos x="wd2" y="hd2"/>
                </a:cxn>
                <a:cxn ang="16200000">
                  <a:pos x="wd2" y="hd2"/>
                </a:cxn>
              </a:cxnLst>
              <a:rect l="0" t="0" r="r" b="b"/>
              <a:pathLst>
                <a:path w="21600" h="21600" extrusionOk="0">
                  <a:moveTo>
                    <a:pt x="21600" y="9679"/>
                  </a:moveTo>
                  <a:lnTo>
                    <a:pt x="21600" y="12041"/>
                  </a:lnTo>
                  <a:cubicBezTo>
                    <a:pt x="21600" y="14932"/>
                    <a:pt x="21114" y="16792"/>
                    <a:pt x="20079" y="18294"/>
                  </a:cubicBezTo>
                  <a:cubicBezTo>
                    <a:pt x="18801" y="20153"/>
                    <a:pt x="16308" y="21600"/>
                    <a:pt x="11258" y="21600"/>
                  </a:cubicBezTo>
                  <a:cubicBezTo>
                    <a:pt x="5497" y="21600"/>
                    <a:pt x="3184" y="19861"/>
                    <a:pt x="1846" y="17911"/>
                  </a:cubicBezTo>
                  <a:cubicBezTo>
                    <a:pt x="691" y="16231"/>
                    <a:pt x="0" y="13840"/>
                    <a:pt x="0" y="10801"/>
                  </a:cubicBezTo>
                  <a:cubicBezTo>
                    <a:pt x="0" y="7968"/>
                    <a:pt x="608" y="5460"/>
                    <a:pt x="1846" y="3660"/>
                  </a:cubicBezTo>
                  <a:cubicBezTo>
                    <a:pt x="3184" y="1713"/>
                    <a:pt x="5862" y="0"/>
                    <a:pt x="11258" y="0"/>
                  </a:cubicBezTo>
                  <a:cubicBezTo>
                    <a:pt x="15557" y="0"/>
                    <a:pt x="18882" y="1092"/>
                    <a:pt x="20606" y="2362"/>
                  </a:cubicBezTo>
                  <a:lnTo>
                    <a:pt x="20606" y="6552"/>
                  </a:lnTo>
                  <a:cubicBezTo>
                    <a:pt x="18558" y="4929"/>
                    <a:pt x="15171" y="3688"/>
                    <a:pt x="11258" y="3688"/>
                  </a:cubicBezTo>
                  <a:cubicBezTo>
                    <a:pt x="7322" y="3688"/>
                    <a:pt x="5232" y="4722"/>
                    <a:pt x="4300" y="6079"/>
                  </a:cubicBezTo>
                  <a:cubicBezTo>
                    <a:pt x="3549" y="7171"/>
                    <a:pt x="3164" y="8677"/>
                    <a:pt x="3164" y="10801"/>
                  </a:cubicBezTo>
                  <a:cubicBezTo>
                    <a:pt x="3164" y="13045"/>
                    <a:pt x="3591" y="14520"/>
                    <a:pt x="4300" y="15549"/>
                  </a:cubicBezTo>
                  <a:cubicBezTo>
                    <a:pt x="5232" y="16910"/>
                    <a:pt x="6956" y="18028"/>
                    <a:pt x="11258" y="18028"/>
                  </a:cubicBezTo>
                  <a:cubicBezTo>
                    <a:pt x="14663" y="18028"/>
                    <a:pt x="16815" y="17146"/>
                    <a:pt x="17626" y="15964"/>
                  </a:cubicBezTo>
                  <a:cubicBezTo>
                    <a:pt x="18173" y="15169"/>
                    <a:pt x="18376" y="14371"/>
                    <a:pt x="18376" y="13339"/>
                  </a:cubicBezTo>
                  <a:lnTo>
                    <a:pt x="9654" y="13339"/>
                  </a:lnTo>
                  <a:lnTo>
                    <a:pt x="9654" y="9679"/>
                  </a:lnTo>
                  <a:cubicBezTo>
                    <a:pt x="9654" y="9679"/>
                    <a:pt x="21600" y="9679"/>
                    <a:pt x="21600" y="9679"/>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2" name="Shape 42"/>
            <p:cNvSpPr/>
            <p:nvPr/>
          </p:nvSpPr>
          <p:spPr>
            <a:xfrm>
              <a:off x="317500" y="647700"/>
              <a:ext cx="172517" cy="135802"/>
            </a:xfrm>
            <a:custGeom>
              <a:avLst/>
              <a:gdLst/>
              <a:ahLst/>
              <a:cxnLst>
                <a:cxn ang="0">
                  <a:pos x="wd2" y="hd2"/>
                </a:cxn>
                <a:cxn ang="5400000">
                  <a:pos x="wd2" y="hd2"/>
                </a:cxn>
                <a:cxn ang="10800000">
                  <a:pos x="wd2" y="hd2"/>
                </a:cxn>
                <a:cxn ang="16200000">
                  <a:pos x="wd2" y="hd2"/>
                </a:cxn>
              </a:cxnLst>
              <a:rect l="0" t="0" r="r" b="b"/>
              <a:pathLst>
                <a:path w="21600" h="21600" extrusionOk="0">
                  <a:moveTo>
                    <a:pt x="17676" y="16780"/>
                  </a:moveTo>
                  <a:cubicBezTo>
                    <a:pt x="17992" y="16362"/>
                    <a:pt x="18105" y="15857"/>
                    <a:pt x="18105" y="15322"/>
                  </a:cubicBezTo>
                  <a:cubicBezTo>
                    <a:pt x="18105" y="14700"/>
                    <a:pt x="17992" y="14221"/>
                    <a:pt x="17720" y="13865"/>
                  </a:cubicBezTo>
                  <a:cubicBezTo>
                    <a:pt x="17221" y="13211"/>
                    <a:pt x="16291" y="12942"/>
                    <a:pt x="10687" y="12556"/>
                  </a:cubicBezTo>
                  <a:cubicBezTo>
                    <a:pt x="4355" y="12138"/>
                    <a:pt x="2428" y="11456"/>
                    <a:pt x="1339" y="10027"/>
                  </a:cubicBezTo>
                  <a:cubicBezTo>
                    <a:pt x="704" y="9193"/>
                    <a:pt x="433" y="8034"/>
                    <a:pt x="433" y="6547"/>
                  </a:cubicBezTo>
                  <a:cubicBezTo>
                    <a:pt x="433" y="5030"/>
                    <a:pt x="681" y="3602"/>
                    <a:pt x="1542" y="2471"/>
                  </a:cubicBezTo>
                  <a:cubicBezTo>
                    <a:pt x="2654" y="1012"/>
                    <a:pt x="4834" y="0"/>
                    <a:pt x="10415" y="0"/>
                  </a:cubicBezTo>
                  <a:cubicBezTo>
                    <a:pt x="14839" y="0"/>
                    <a:pt x="18173" y="834"/>
                    <a:pt x="20283" y="1935"/>
                  </a:cubicBezTo>
                  <a:lnTo>
                    <a:pt x="20283" y="5832"/>
                  </a:lnTo>
                  <a:cubicBezTo>
                    <a:pt x="17879" y="4492"/>
                    <a:pt x="13886" y="3511"/>
                    <a:pt x="10415" y="3511"/>
                  </a:cubicBezTo>
                  <a:cubicBezTo>
                    <a:pt x="6081" y="3511"/>
                    <a:pt x="4834" y="4048"/>
                    <a:pt x="4311" y="4731"/>
                  </a:cubicBezTo>
                  <a:cubicBezTo>
                    <a:pt x="4039" y="5088"/>
                    <a:pt x="3926" y="5565"/>
                    <a:pt x="3926" y="6131"/>
                  </a:cubicBezTo>
                  <a:cubicBezTo>
                    <a:pt x="3926" y="6664"/>
                    <a:pt x="4039" y="7110"/>
                    <a:pt x="4268" y="7409"/>
                  </a:cubicBezTo>
                  <a:cubicBezTo>
                    <a:pt x="4743" y="8034"/>
                    <a:pt x="5809" y="8391"/>
                    <a:pt x="10981" y="8716"/>
                  </a:cubicBezTo>
                  <a:cubicBezTo>
                    <a:pt x="17676" y="9163"/>
                    <a:pt x="19535" y="9819"/>
                    <a:pt x="20624" y="11247"/>
                  </a:cubicBezTo>
                  <a:cubicBezTo>
                    <a:pt x="21258" y="12078"/>
                    <a:pt x="21600" y="13360"/>
                    <a:pt x="21600" y="14845"/>
                  </a:cubicBezTo>
                  <a:cubicBezTo>
                    <a:pt x="21600" y="16394"/>
                    <a:pt x="21349" y="17823"/>
                    <a:pt x="20487" y="18952"/>
                  </a:cubicBezTo>
                  <a:cubicBezTo>
                    <a:pt x="19353" y="20441"/>
                    <a:pt x="17108" y="21600"/>
                    <a:pt x="11164" y="21600"/>
                  </a:cubicBezTo>
                  <a:cubicBezTo>
                    <a:pt x="6761" y="21600"/>
                    <a:pt x="2450" y="20677"/>
                    <a:pt x="0" y="19279"/>
                  </a:cubicBezTo>
                  <a:lnTo>
                    <a:pt x="0" y="15384"/>
                  </a:lnTo>
                  <a:cubicBezTo>
                    <a:pt x="2361" y="16869"/>
                    <a:pt x="7373" y="18087"/>
                    <a:pt x="11164" y="18087"/>
                  </a:cubicBezTo>
                  <a:cubicBezTo>
                    <a:pt x="15610" y="18087"/>
                    <a:pt x="17038" y="17614"/>
                    <a:pt x="17676" y="16780"/>
                  </a:cubicBezTo>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3" name="Shape 43"/>
            <p:cNvSpPr/>
            <p:nvPr/>
          </p:nvSpPr>
          <p:spPr>
            <a:xfrm>
              <a:off x="508000" y="647700"/>
              <a:ext cx="221908" cy="13092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086" y="21600"/>
                  </a:lnTo>
                  <a:lnTo>
                    <a:pt x="19086" y="3518"/>
                  </a:lnTo>
                  <a:lnTo>
                    <a:pt x="12495" y="21600"/>
                  </a:lnTo>
                  <a:lnTo>
                    <a:pt x="9089" y="21600"/>
                  </a:lnTo>
                  <a:lnTo>
                    <a:pt x="2500" y="3518"/>
                  </a:lnTo>
                  <a:lnTo>
                    <a:pt x="2500" y="21600"/>
                  </a:lnTo>
                  <a:lnTo>
                    <a:pt x="0" y="21600"/>
                  </a:lnTo>
                  <a:lnTo>
                    <a:pt x="0" y="0"/>
                  </a:lnTo>
                  <a:lnTo>
                    <a:pt x="4105" y="0"/>
                  </a:lnTo>
                  <a:lnTo>
                    <a:pt x="10841" y="18637"/>
                  </a:lnTo>
                  <a:lnTo>
                    <a:pt x="17592" y="0"/>
                  </a:lnTo>
                  <a:lnTo>
                    <a:pt x="21600" y="0"/>
                  </a:lnTo>
                  <a:cubicBezTo>
                    <a:pt x="21600" y="0"/>
                    <a:pt x="21600" y="21600"/>
                    <a:pt x="21600" y="21600"/>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4" name="Shape 44"/>
            <p:cNvSpPr/>
            <p:nvPr/>
          </p:nvSpPr>
          <p:spPr>
            <a:xfrm>
              <a:off x="749300" y="647700"/>
              <a:ext cx="208090" cy="131674"/>
            </a:xfrm>
            <a:custGeom>
              <a:avLst/>
              <a:gdLst/>
              <a:ahLst/>
              <a:cxnLst>
                <a:cxn ang="0">
                  <a:pos x="wd2" y="hd2"/>
                </a:cxn>
                <a:cxn ang="5400000">
                  <a:pos x="wd2" y="hd2"/>
                </a:cxn>
                <a:cxn ang="10800000">
                  <a:pos x="wd2" y="hd2"/>
                </a:cxn>
                <a:cxn ang="16200000">
                  <a:pos x="wd2" y="hd2"/>
                </a:cxn>
              </a:cxnLst>
              <a:rect l="0" t="0" r="r" b="b"/>
              <a:pathLst>
                <a:path w="21600" h="21600" extrusionOk="0">
                  <a:moveTo>
                    <a:pt x="12716" y="0"/>
                  </a:moveTo>
                  <a:lnTo>
                    <a:pt x="21600" y="21600"/>
                  </a:lnTo>
                  <a:lnTo>
                    <a:pt x="18353" y="21600"/>
                  </a:lnTo>
                  <a:lnTo>
                    <a:pt x="16310" y="16538"/>
                  </a:lnTo>
                  <a:lnTo>
                    <a:pt x="5164" y="16538"/>
                  </a:lnTo>
                  <a:lnTo>
                    <a:pt x="3119" y="21600"/>
                  </a:lnTo>
                  <a:lnTo>
                    <a:pt x="0" y="21600"/>
                  </a:lnTo>
                  <a:lnTo>
                    <a:pt x="8885" y="0"/>
                  </a:lnTo>
                  <a:cubicBezTo>
                    <a:pt x="8885" y="0"/>
                    <a:pt x="12716" y="0"/>
                    <a:pt x="12716" y="0"/>
                  </a:cubicBezTo>
                  <a:close/>
                  <a:moveTo>
                    <a:pt x="6694" y="12733"/>
                  </a:moveTo>
                  <a:lnTo>
                    <a:pt x="14777" y="12733"/>
                  </a:lnTo>
                  <a:lnTo>
                    <a:pt x="10727" y="2700"/>
                  </a:lnTo>
                  <a:cubicBezTo>
                    <a:pt x="10727" y="2700"/>
                    <a:pt x="6694" y="12733"/>
                    <a:pt x="6694" y="12733"/>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5" name="Shape 45"/>
            <p:cNvSpPr/>
            <p:nvPr/>
          </p:nvSpPr>
          <p:spPr>
            <a:xfrm>
              <a:off x="914400" y="647700"/>
              <a:ext cx="21959" cy="29401"/>
            </a:xfrm>
            <a:custGeom>
              <a:avLst/>
              <a:gdLst/>
              <a:ahLst/>
              <a:cxnLst>
                <a:cxn ang="0">
                  <a:pos x="wd2" y="hd2"/>
                </a:cxn>
                <a:cxn ang="5400000">
                  <a:pos x="wd2" y="hd2"/>
                </a:cxn>
                <a:cxn ang="10800000">
                  <a:pos x="wd2" y="hd2"/>
                </a:cxn>
                <a:cxn ang="16200000">
                  <a:pos x="wd2" y="hd2"/>
                </a:cxn>
              </a:cxnLst>
              <a:rect l="0" t="0" r="r" b="b"/>
              <a:pathLst>
                <a:path w="21600" h="21600" extrusionOk="0">
                  <a:moveTo>
                    <a:pt x="8445" y="3517"/>
                  </a:moveTo>
                  <a:lnTo>
                    <a:pt x="0" y="3517"/>
                  </a:lnTo>
                  <a:lnTo>
                    <a:pt x="0" y="0"/>
                  </a:lnTo>
                  <a:lnTo>
                    <a:pt x="21600" y="0"/>
                  </a:lnTo>
                  <a:lnTo>
                    <a:pt x="21600" y="3517"/>
                  </a:lnTo>
                  <a:lnTo>
                    <a:pt x="13155" y="3517"/>
                  </a:lnTo>
                  <a:lnTo>
                    <a:pt x="13155" y="21600"/>
                  </a:lnTo>
                  <a:lnTo>
                    <a:pt x="8445" y="21600"/>
                  </a:lnTo>
                  <a:cubicBezTo>
                    <a:pt x="8445" y="21600"/>
                    <a:pt x="8445" y="3517"/>
                    <a:pt x="8445" y="3517"/>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6" name="Shape 46"/>
            <p:cNvSpPr/>
            <p:nvPr/>
          </p:nvSpPr>
          <p:spPr>
            <a:xfrm>
              <a:off x="939800" y="647700"/>
              <a:ext cx="26607" cy="29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114" y="0"/>
                  </a:lnTo>
                  <a:lnTo>
                    <a:pt x="10795" y="10217"/>
                  </a:lnTo>
                  <a:lnTo>
                    <a:pt x="17486" y="0"/>
                  </a:lnTo>
                  <a:lnTo>
                    <a:pt x="21600" y="0"/>
                  </a:lnTo>
                  <a:lnTo>
                    <a:pt x="21600" y="21600"/>
                  </a:lnTo>
                  <a:lnTo>
                    <a:pt x="17734" y="21600"/>
                  </a:lnTo>
                  <a:lnTo>
                    <a:pt x="17734" y="6111"/>
                  </a:lnTo>
                  <a:lnTo>
                    <a:pt x="10795" y="16300"/>
                  </a:lnTo>
                  <a:lnTo>
                    <a:pt x="10671" y="16300"/>
                  </a:lnTo>
                  <a:lnTo>
                    <a:pt x="3804" y="6168"/>
                  </a:lnTo>
                  <a:lnTo>
                    <a:pt x="3804" y="21600"/>
                  </a:lnTo>
                  <a:lnTo>
                    <a:pt x="0" y="21600"/>
                  </a:lnTo>
                  <a:cubicBezTo>
                    <a:pt x="0" y="21600"/>
                    <a:pt x="0" y="0"/>
                    <a:pt x="0" y="0"/>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7" name="Shape 47"/>
            <p:cNvSpPr/>
            <p:nvPr/>
          </p:nvSpPr>
          <p:spPr>
            <a:xfrm>
              <a:off x="101600" y="469900"/>
              <a:ext cx="91237" cy="10762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cubicBezTo>
                    <a:pt x="21600" y="21600"/>
                    <a:pt x="21600" y="0"/>
                    <a:pt x="21600" y="0"/>
                  </a:cubicBezTo>
                  <a:close/>
                </a:path>
              </a:pathLst>
            </a:custGeom>
            <a:solidFill>
              <a:srgbClr val="951C00"/>
            </a:solidFill>
            <a:ln w="12700" cap="flat">
              <a:noFill/>
              <a:miter lim="400000"/>
            </a:ln>
            <a:effectLst/>
          </p:spPr>
          <p:txBody>
            <a:bodyPr wrap="square" lIns="38100" tIns="38100" rIns="38100" bIns="38100" numCol="1" anchor="ctr">
              <a:noAutofit/>
            </a:bodyPr>
            <a:lstStyle/>
            <a:p>
              <a:pPr marL="0" indent="0" algn="ctr" defTabSz="2571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8" name="Shape 48"/>
            <p:cNvSpPr/>
            <p:nvPr/>
          </p:nvSpPr>
          <p:spPr>
            <a:xfrm>
              <a:off x="228600" y="419100"/>
              <a:ext cx="136830" cy="16139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cubicBezTo>
                    <a:pt x="21600" y="21600"/>
                    <a:pt x="21600" y="0"/>
                    <a:pt x="21600" y="0"/>
                  </a:cubicBezTo>
                  <a:close/>
                </a:path>
              </a:pathLst>
            </a:custGeom>
            <a:solidFill>
              <a:srgbClr val="BE2207"/>
            </a:solidFill>
            <a:ln w="12700" cap="flat">
              <a:noFill/>
              <a:miter lim="400000"/>
            </a:ln>
            <a:effectLst/>
          </p:spPr>
          <p:txBody>
            <a:bodyPr wrap="square" lIns="38100" tIns="38100" rIns="38100" bIns="38100" numCol="1" anchor="ctr">
              <a:noAutofit/>
            </a:bodyPr>
            <a:lstStyle/>
            <a:p>
              <a:pPr marL="0" indent="0" algn="ctr" defTabSz="2571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9" name="Shape 49"/>
            <p:cNvSpPr/>
            <p:nvPr/>
          </p:nvSpPr>
          <p:spPr>
            <a:xfrm>
              <a:off x="406400" y="342900"/>
              <a:ext cx="205042" cy="24208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cubicBezTo>
                    <a:pt x="21600" y="21600"/>
                    <a:pt x="21600" y="0"/>
                    <a:pt x="21600" y="0"/>
                  </a:cubicBezTo>
                  <a:close/>
                </a:path>
              </a:pathLst>
            </a:custGeom>
            <a:solidFill>
              <a:srgbClr val="DD2312"/>
            </a:solidFill>
            <a:ln w="12700" cap="flat">
              <a:noFill/>
              <a:miter lim="400000"/>
            </a:ln>
            <a:effectLst/>
          </p:spPr>
          <p:txBody>
            <a:bodyPr wrap="square" lIns="38100" tIns="38100" rIns="38100" bIns="38100" numCol="1" anchor="ctr">
              <a:noAutofit/>
            </a:bodyPr>
            <a:lstStyle/>
            <a:p>
              <a:pPr marL="0" indent="0" algn="ctr" defTabSz="2571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50" name="Shape 50"/>
            <p:cNvSpPr/>
            <p:nvPr/>
          </p:nvSpPr>
          <p:spPr>
            <a:xfrm>
              <a:off x="647700" y="215900"/>
              <a:ext cx="303480" cy="36306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cubicBezTo>
                    <a:pt x="21600" y="21600"/>
                    <a:pt x="21600" y="0"/>
                    <a:pt x="21600" y="0"/>
                  </a:cubicBezTo>
                  <a:close/>
                </a:path>
              </a:pathLst>
            </a:custGeom>
            <a:solidFill>
              <a:srgbClr val="EB2416"/>
            </a:solidFill>
            <a:ln w="12700" cap="flat">
              <a:noFill/>
              <a:miter lim="400000"/>
            </a:ln>
            <a:effectLst/>
          </p:spPr>
          <p:txBody>
            <a:bodyPr wrap="square" lIns="38100" tIns="38100" rIns="38100" bIns="38100" numCol="1" anchor="ctr">
              <a:noAutofit/>
            </a:bodyPr>
            <a:lstStyle/>
            <a:p>
              <a:pPr marL="0" indent="0" algn="ctr" defTabSz="257168">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grpSp>
      <p:sp>
        <p:nvSpPr>
          <p:cNvPr id="58" name="Shape 58"/>
          <p:cNvSpPr>
            <a:spLocks noGrp="1"/>
          </p:cNvSpPr>
          <p:nvPr>
            <p:ph type="sldNum" sz="quarter" idx="2"/>
          </p:nvPr>
        </p:nvSpPr>
        <p:spPr>
          <a:xfrm>
            <a:off x="446233" y="4815841"/>
            <a:ext cx="216791" cy="169068"/>
          </a:xfrm>
          <a:prstGeom prst="rect">
            <a:avLst/>
          </a:prstGeom>
        </p:spPr>
        <p:txBody>
          <a:bodyPr/>
          <a:lstStyle>
            <a:lvl1pPr>
              <a:defRPr sz="563">
                <a:latin typeface="+mj-lt"/>
              </a:defRPr>
            </a:lvl1pPr>
          </a:lstStyle>
          <a:p>
            <a:fld id="{86CB4B4D-7CA3-9044-876B-883B54F8677D}" type="slidenum">
              <a:rPr lang="en-GB" smtClean="0"/>
              <a:pPr/>
              <a:t>‹#›</a:t>
            </a:fld>
            <a:endParaRPr lang="en-GB" dirty="0"/>
          </a:p>
        </p:txBody>
      </p:sp>
      <p:pic>
        <p:nvPicPr>
          <p:cNvPr id="22" name="image6.png"/>
          <p:cNvPicPr>
            <a:picLocks noChangeAspect="1"/>
          </p:cNvPicPr>
          <p:nvPr userDrawn="1"/>
        </p:nvPicPr>
        <p:blipFill>
          <a:blip r:embed="rId6">
            <a:extLst/>
          </a:blip>
          <a:stretch>
            <a:fillRect/>
          </a:stretch>
        </p:blipFill>
        <p:spPr>
          <a:xfrm>
            <a:off x="464822" y="4643120"/>
            <a:ext cx="8214361" cy="44451"/>
          </a:xfrm>
          <a:prstGeom prst="rect">
            <a:avLst/>
          </a:prstGeom>
          <a:ln w="12700">
            <a:miter lim="400000"/>
          </a:ln>
        </p:spPr>
      </p:pic>
    </p:spTree>
    <p:extLst>
      <p:ext uri="{BB962C8B-B14F-4D97-AF65-F5344CB8AC3E}">
        <p14:creationId xmlns:p14="http://schemas.microsoft.com/office/powerpoint/2010/main" val="484429866"/>
      </p:ext>
    </p:extLst>
  </p:cSld>
  <p:clrMapOvr>
    <a:masterClrMapping/>
  </p:clrMapOvr>
  <p:transition spd="med"/>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smtClean="0"/>
              <a:t>Click to edit Master title style</a:t>
            </a:r>
            <a:endParaRPr lang="en-GB"/>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3CFF9C6C-E598-404E-A7F4-55A1373A50F7}" type="datetimeFigureOut">
              <a:rPr lang="en-GB" smtClean="0"/>
              <a:t>07/08/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9D9C73A-367C-4710-98B5-BACF58640B06}" type="slidenum">
              <a:rPr lang="en-GB" smtClean="0"/>
              <a:t>‹#›</a:t>
            </a:fld>
            <a:endParaRPr lang="en-GB"/>
          </a:p>
        </p:txBody>
      </p:sp>
    </p:spTree>
    <p:extLst>
      <p:ext uri="{BB962C8B-B14F-4D97-AF65-F5344CB8AC3E}">
        <p14:creationId xmlns:p14="http://schemas.microsoft.com/office/powerpoint/2010/main" val="817114594"/>
      </p:ext>
    </p:extLst>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3CFF9C6C-E598-404E-A7F4-55A1373A50F7}" type="datetimeFigureOut">
              <a:rPr lang="en-GB" smtClean="0"/>
              <a:t>07/08/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9D9C73A-367C-4710-98B5-BACF58640B06}" type="slidenum">
              <a:rPr lang="en-GB" smtClean="0"/>
              <a:t>‹#›</a:t>
            </a:fld>
            <a:endParaRPr lang="en-GB"/>
          </a:p>
        </p:txBody>
      </p:sp>
    </p:spTree>
    <p:extLst>
      <p:ext uri="{BB962C8B-B14F-4D97-AF65-F5344CB8AC3E}">
        <p14:creationId xmlns:p14="http://schemas.microsoft.com/office/powerpoint/2010/main" val="1709734945"/>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smtClean="0"/>
              <a:t>Click to edit Master title style</a:t>
            </a:r>
            <a:endParaRPr lang="en-GB"/>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3CFF9C6C-E598-404E-A7F4-55A1373A50F7}" type="datetimeFigureOut">
              <a:rPr lang="en-GB" smtClean="0"/>
              <a:t>07/08/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9D9C73A-367C-4710-98B5-BACF58640B06}" type="slidenum">
              <a:rPr lang="en-GB" smtClean="0"/>
              <a:t>‹#›</a:t>
            </a:fld>
            <a:endParaRPr lang="en-GB"/>
          </a:p>
        </p:txBody>
      </p:sp>
    </p:spTree>
    <p:extLst>
      <p:ext uri="{BB962C8B-B14F-4D97-AF65-F5344CB8AC3E}">
        <p14:creationId xmlns:p14="http://schemas.microsoft.com/office/powerpoint/2010/main" val="3178848150"/>
      </p:ext>
    </p:extLst>
  </p:cSld>
  <p:clrMapOvr>
    <a:masterClrMapping/>
  </p:clrMapOvr>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628650" y="1369219"/>
            <a:ext cx="3886200" cy="3263504"/>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29150" y="1369219"/>
            <a:ext cx="3886200" cy="3263504"/>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3CFF9C6C-E598-404E-A7F4-55A1373A50F7}" type="datetimeFigureOut">
              <a:rPr lang="en-GB" smtClean="0"/>
              <a:t>07/08/2019</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9D9C73A-367C-4710-98B5-BACF58640B06}" type="slidenum">
              <a:rPr lang="en-GB" smtClean="0"/>
              <a:t>‹#›</a:t>
            </a:fld>
            <a:endParaRPr lang="en-GB"/>
          </a:p>
        </p:txBody>
      </p:sp>
    </p:spTree>
    <p:extLst>
      <p:ext uri="{BB962C8B-B14F-4D97-AF65-F5344CB8AC3E}">
        <p14:creationId xmlns:p14="http://schemas.microsoft.com/office/powerpoint/2010/main" val="3975610147"/>
      </p:ext>
    </p:extLst>
  </p:cSld>
  <p:clrMapOvr>
    <a:masterClrMapping/>
  </p:clrMapOvr>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3CFF9C6C-E598-404E-A7F4-55A1373A50F7}" type="datetimeFigureOut">
              <a:rPr lang="en-GB" smtClean="0"/>
              <a:t>07/08/2019</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69D9C73A-367C-4710-98B5-BACF58640B06}" type="slidenum">
              <a:rPr lang="en-GB" smtClean="0"/>
              <a:t>‹#›</a:t>
            </a:fld>
            <a:endParaRPr lang="en-GB"/>
          </a:p>
        </p:txBody>
      </p:sp>
    </p:spTree>
    <p:extLst>
      <p:ext uri="{BB962C8B-B14F-4D97-AF65-F5344CB8AC3E}">
        <p14:creationId xmlns:p14="http://schemas.microsoft.com/office/powerpoint/2010/main" val="4180620037"/>
      </p:ext>
    </p:extLst>
  </p:cSld>
  <p:clrMapOvr>
    <a:masterClrMapping/>
  </p:clrMapOvr>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3CFF9C6C-E598-404E-A7F4-55A1373A50F7}" type="datetimeFigureOut">
              <a:rPr lang="en-GB" smtClean="0"/>
              <a:t>07/08/2019</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9D9C73A-367C-4710-98B5-BACF58640B06}" type="slidenum">
              <a:rPr lang="en-GB" smtClean="0"/>
              <a:t>‹#›</a:t>
            </a:fld>
            <a:endParaRPr lang="en-GB"/>
          </a:p>
        </p:txBody>
      </p:sp>
    </p:spTree>
    <p:extLst>
      <p:ext uri="{BB962C8B-B14F-4D97-AF65-F5344CB8AC3E}">
        <p14:creationId xmlns:p14="http://schemas.microsoft.com/office/powerpoint/2010/main" val="3722239391"/>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cSld name="1_Full Page RED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893" y="893"/>
          <a:ext cx="893" cy="893"/>
        </p:xfrm>
        <a:graphic>
          <a:graphicData uri="http://schemas.openxmlformats.org/presentationml/2006/ole">
            <mc:AlternateContent xmlns:mc="http://schemas.openxmlformats.org/markup-compatibility/2006">
              <mc:Choice xmlns:v="urn:schemas-microsoft-com:vml" Requires="v">
                <p:oleObj spid="_x0000_s46338"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893" y="893"/>
                        <a:ext cx="893" cy="893"/>
                      </a:xfrm>
                      <a:prstGeom prst="rect">
                        <a:avLst/>
                      </a:prstGeom>
                    </p:spPr>
                  </p:pic>
                </p:oleObj>
              </mc:Fallback>
            </mc:AlternateContent>
          </a:graphicData>
        </a:graphic>
      </p:graphicFrame>
      <p:grpSp>
        <p:nvGrpSpPr>
          <p:cNvPr id="53" name="Group 53"/>
          <p:cNvGrpSpPr/>
          <p:nvPr userDrawn="1"/>
        </p:nvGrpSpPr>
        <p:grpSpPr>
          <a:xfrm>
            <a:off x="319087" y="319088"/>
            <a:ext cx="596254" cy="596247"/>
            <a:chOff x="0" y="0"/>
            <a:chExt cx="1060006" cy="1059993"/>
          </a:xfrm>
        </p:grpSpPr>
        <p:sp>
          <p:nvSpPr>
            <p:cNvPr id="39" name="Shape 39"/>
            <p:cNvSpPr/>
            <p:nvPr/>
          </p:nvSpPr>
          <p:spPr>
            <a:xfrm>
              <a:off x="0" y="0"/>
              <a:ext cx="1060006" cy="105999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cubicBezTo>
                    <a:pt x="0" y="0"/>
                    <a:pt x="0" y="21600"/>
                    <a:pt x="0" y="21600"/>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0" name="Shape 40"/>
            <p:cNvSpPr/>
            <p:nvPr/>
          </p:nvSpPr>
          <p:spPr>
            <a:xfrm>
              <a:off x="12700" y="12700"/>
              <a:ext cx="1033501" cy="10335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cubicBezTo>
                    <a:pt x="0" y="0"/>
                    <a:pt x="0" y="21600"/>
                    <a:pt x="0" y="21600"/>
                  </a:cubicBezTo>
                  <a:close/>
                </a:path>
              </a:pathLst>
            </a:custGeom>
            <a:solidFill>
              <a:srgbClr val="000000"/>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1" name="Shape 41"/>
            <p:cNvSpPr/>
            <p:nvPr/>
          </p:nvSpPr>
          <p:spPr>
            <a:xfrm>
              <a:off x="101600" y="647700"/>
              <a:ext cx="192990" cy="136919"/>
            </a:xfrm>
            <a:custGeom>
              <a:avLst/>
              <a:gdLst/>
              <a:ahLst/>
              <a:cxnLst>
                <a:cxn ang="0">
                  <a:pos x="wd2" y="hd2"/>
                </a:cxn>
                <a:cxn ang="5400000">
                  <a:pos x="wd2" y="hd2"/>
                </a:cxn>
                <a:cxn ang="10800000">
                  <a:pos x="wd2" y="hd2"/>
                </a:cxn>
                <a:cxn ang="16200000">
                  <a:pos x="wd2" y="hd2"/>
                </a:cxn>
              </a:cxnLst>
              <a:rect l="0" t="0" r="r" b="b"/>
              <a:pathLst>
                <a:path w="21600" h="21600" extrusionOk="0">
                  <a:moveTo>
                    <a:pt x="21600" y="9679"/>
                  </a:moveTo>
                  <a:lnTo>
                    <a:pt x="21600" y="12041"/>
                  </a:lnTo>
                  <a:cubicBezTo>
                    <a:pt x="21600" y="14932"/>
                    <a:pt x="21114" y="16792"/>
                    <a:pt x="20079" y="18294"/>
                  </a:cubicBezTo>
                  <a:cubicBezTo>
                    <a:pt x="18801" y="20153"/>
                    <a:pt x="16308" y="21600"/>
                    <a:pt x="11258" y="21600"/>
                  </a:cubicBezTo>
                  <a:cubicBezTo>
                    <a:pt x="5497" y="21600"/>
                    <a:pt x="3184" y="19861"/>
                    <a:pt x="1846" y="17911"/>
                  </a:cubicBezTo>
                  <a:cubicBezTo>
                    <a:pt x="691" y="16231"/>
                    <a:pt x="0" y="13840"/>
                    <a:pt x="0" y="10801"/>
                  </a:cubicBezTo>
                  <a:cubicBezTo>
                    <a:pt x="0" y="7968"/>
                    <a:pt x="608" y="5460"/>
                    <a:pt x="1846" y="3660"/>
                  </a:cubicBezTo>
                  <a:cubicBezTo>
                    <a:pt x="3184" y="1713"/>
                    <a:pt x="5862" y="0"/>
                    <a:pt x="11258" y="0"/>
                  </a:cubicBezTo>
                  <a:cubicBezTo>
                    <a:pt x="15557" y="0"/>
                    <a:pt x="18882" y="1092"/>
                    <a:pt x="20606" y="2362"/>
                  </a:cubicBezTo>
                  <a:lnTo>
                    <a:pt x="20606" y="6552"/>
                  </a:lnTo>
                  <a:cubicBezTo>
                    <a:pt x="18558" y="4929"/>
                    <a:pt x="15171" y="3688"/>
                    <a:pt x="11258" y="3688"/>
                  </a:cubicBezTo>
                  <a:cubicBezTo>
                    <a:pt x="7322" y="3688"/>
                    <a:pt x="5232" y="4722"/>
                    <a:pt x="4300" y="6079"/>
                  </a:cubicBezTo>
                  <a:cubicBezTo>
                    <a:pt x="3549" y="7171"/>
                    <a:pt x="3164" y="8677"/>
                    <a:pt x="3164" y="10801"/>
                  </a:cubicBezTo>
                  <a:cubicBezTo>
                    <a:pt x="3164" y="13045"/>
                    <a:pt x="3591" y="14520"/>
                    <a:pt x="4300" y="15549"/>
                  </a:cubicBezTo>
                  <a:cubicBezTo>
                    <a:pt x="5232" y="16910"/>
                    <a:pt x="6956" y="18028"/>
                    <a:pt x="11258" y="18028"/>
                  </a:cubicBezTo>
                  <a:cubicBezTo>
                    <a:pt x="14663" y="18028"/>
                    <a:pt x="16815" y="17146"/>
                    <a:pt x="17626" y="15964"/>
                  </a:cubicBezTo>
                  <a:cubicBezTo>
                    <a:pt x="18173" y="15169"/>
                    <a:pt x="18376" y="14371"/>
                    <a:pt x="18376" y="13339"/>
                  </a:cubicBezTo>
                  <a:lnTo>
                    <a:pt x="9654" y="13339"/>
                  </a:lnTo>
                  <a:lnTo>
                    <a:pt x="9654" y="9679"/>
                  </a:lnTo>
                  <a:cubicBezTo>
                    <a:pt x="9654" y="9679"/>
                    <a:pt x="21600" y="9679"/>
                    <a:pt x="21600" y="9679"/>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2" name="Shape 42"/>
            <p:cNvSpPr/>
            <p:nvPr/>
          </p:nvSpPr>
          <p:spPr>
            <a:xfrm>
              <a:off x="317500" y="647700"/>
              <a:ext cx="172517" cy="135802"/>
            </a:xfrm>
            <a:custGeom>
              <a:avLst/>
              <a:gdLst/>
              <a:ahLst/>
              <a:cxnLst>
                <a:cxn ang="0">
                  <a:pos x="wd2" y="hd2"/>
                </a:cxn>
                <a:cxn ang="5400000">
                  <a:pos x="wd2" y="hd2"/>
                </a:cxn>
                <a:cxn ang="10800000">
                  <a:pos x="wd2" y="hd2"/>
                </a:cxn>
                <a:cxn ang="16200000">
                  <a:pos x="wd2" y="hd2"/>
                </a:cxn>
              </a:cxnLst>
              <a:rect l="0" t="0" r="r" b="b"/>
              <a:pathLst>
                <a:path w="21600" h="21600" extrusionOk="0">
                  <a:moveTo>
                    <a:pt x="17676" y="16780"/>
                  </a:moveTo>
                  <a:cubicBezTo>
                    <a:pt x="17992" y="16362"/>
                    <a:pt x="18105" y="15857"/>
                    <a:pt x="18105" y="15322"/>
                  </a:cubicBezTo>
                  <a:cubicBezTo>
                    <a:pt x="18105" y="14700"/>
                    <a:pt x="17992" y="14221"/>
                    <a:pt x="17720" y="13865"/>
                  </a:cubicBezTo>
                  <a:cubicBezTo>
                    <a:pt x="17221" y="13211"/>
                    <a:pt x="16291" y="12942"/>
                    <a:pt x="10687" y="12556"/>
                  </a:cubicBezTo>
                  <a:cubicBezTo>
                    <a:pt x="4355" y="12138"/>
                    <a:pt x="2428" y="11456"/>
                    <a:pt x="1339" y="10027"/>
                  </a:cubicBezTo>
                  <a:cubicBezTo>
                    <a:pt x="704" y="9193"/>
                    <a:pt x="433" y="8034"/>
                    <a:pt x="433" y="6547"/>
                  </a:cubicBezTo>
                  <a:cubicBezTo>
                    <a:pt x="433" y="5030"/>
                    <a:pt x="681" y="3602"/>
                    <a:pt x="1542" y="2471"/>
                  </a:cubicBezTo>
                  <a:cubicBezTo>
                    <a:pt x="2654" y="1012"/>
                    <a:pt x="4834" y="0"/>
                    <a:pt x="10415" y="0"/>
                  </a:cubicBezTo>
                  <a:cubicBezTo>
                    <a:pt x="14839" y="0"/>
                    <a:pt x="18173" y="834"/>
                    <a:pt x="20283" y="1935"/>
                  </a:cubicBezTo>
                  <a:lnTo>
                    <a:pt x="20283" y="5832"/>
                  </a:lnTo>
                  <a:cubicBezTo>
                    <a:pt x="17879" y="4492"/>
                    <a:pt x="13886" y="3511"/>
                    <a:pt x="10415" y="3511"/>
                  </a:cubicBezTo>
                  <a:cubicBezTo>
                    <a:pt x="6081" y="3511"/>
                    <a:pt x="4834" y="4048"/>
                    <a:pt x="4311" y="4731"/>
                  </a:cubicBezTo>
                  <a:cubicBezTo>
                    <a:pt x="4039" y="5088"/>
                    <a:pt x="3926" y="5565"/>
                    <a:pt x="3926" y="6131"/>
                  </a:cubicBezTo>
                  <a:cubicBezTo>
                    <a:pt x="3926" y="6664"/>
                    <a:pt x="4039" y="7110"/>
                    <a:pt x="4268" y="7409"/>
                  </a:cubicBezTo>
                  <a:cubicBezTo>
                    <a:pt x="4743" y="8034"/>
                    <a:pt x="5809" y="8391"/>
                    <a:pt x="10981" y="8716"/>
                  </a:cubicBezTo>
                  <a:cubicBezTo>
                    <a:pt x="17676" y="9163"/>
                    <a:pt x="19535" y="9819"/>
                    <a:pt x="20624" y="11247"/>
                  </a:cubicBezTo>
                  <a:cubicBezTo>
                    <a:pt x="21258" y="12078"/>
                    <a:pt x="21600" y="13360"/>
                    <a:pt x="21600" y="14845"/>
                  </a:cubicBezTo>
                  <a:cubicBezTo>
                    <a:pt x="21600" y="16394"/>
                    <a:pt x="21349" y="17823"/>
                    <a:pt x="20487" y="18952"/>
                  </a:cubicBezTo>
                  <a:cubicBezTo>
                    <a:pt x="19353" y="20441"/>
                    <a:pt x="17108" y="21600"/>
                    <a:pt x="11164" y="21600"/>
                  </a:cubicBezTo>
                  <a:cubicBezTo>
                    <a:pt x="6761" y="21600"/>
                    <a:pt x="2450" y="20677"/>
                    <a:pt x="0" y="19279"/>
                  </a:cubicBezTo>
                  <a:lnTo>
                    <a:pt x="0" y="15384"/>
                  </a:lnTo>
                  <a:cubicBezTo>
                    <a:pt x="2361" y="16869"/>
                    <a:pt x="7373" y="18087"/>
                    <a:pt x="11164" y="18087"/>
                  </a:cubicBezTo>
                  <a:cubicBezTo>
                    <a:pt x="15610" y="18087"/>
                    <a:pt x="17038" y="17614"/>
                    <a:pt x="17676" y="16780"/>
                  </a:cubicBezTo>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3" name="Shape 43"/>
            <p:cNvSpPr/>
            <p:nvPr/>
          </p:nvSpPr>
          <p:spPr>
            <a:xfrm>
              <a:off x="508000" y="647700"/>
              <a:ext cx="221908" cy="13092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086" y="21600"/>
                  </a:lnTo>
                  <a:lnTo>
                    <a:pt x="19086" y="3518"/>
                  </a:lnTo>
                  <a:lnTo>
                    <a:pt x="12495" y="21600"/>
                  </a:lnTo>
                  <a:lnTo>
                    <a:pt x="9089" y="21600"/>
                  </a:lnTo>
                  <a:lnTo>
                    <a:pt x="2500" y="3518"/>
                  </a:lnTo>
                  <a:lnTo>
                    <a:pt x="2500" y="21600"/>
                  </a:lnTo>
                  <a:lnTo>
                    <a:pt x="0" y="21600"/>
                  </a:lnTo>
                  <a:lnTo>
                    <a:pt x="0" y="0"/>
                  </a:lnTo>
                  <a:lnTo>
                    <a:pt x="4105" y="0"/>
                  </a:lnTo>
                  <a:lnTo>
                    <a:pt x="10841" y="18637"/>
                  </a:lnTo>
                  <a:lnTo>
                    <a:pt x="17592" y="0"/>
                  </a:lnTo>
                  <a:lnTo>
                    <a:pt x="21600" y="0"/>
                  </a:lnTo>
                  <a:cubicBezTo>
                    <a:pt x="21600" y="0"/>
                    <a:pt x="21600" y="21600"/>
                    <a:pt x="21600" y="21600"/>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4" name="Shape 44"/>
            <p:cNvSpPr/>
            <p:nvPr/>
          </p:nvSpPr>
          <p:spPr>
            <a:xfrm>
              <a:off x="749300" y="647700"/>
              <a:ext cx="208090" cy="131674"/>
            </a:xfrm>
            <a:custGeom>
              <a:avLst/>
              <a:gdLst/>
              <a:ahLst/>
              <a:cxnLst>
                <a:cxn ang="0">
                  <a:pos x="wd2" y="hd2"/>
                </a:cxn>
                <a:cxn ang="5400000">
                  <a:pos x="wd2" y="hd2"/>
                </a:cxn>
                <a:cxn ang="10800000">
                  <a:pos x="wd2" y="hd2"/>
                </a:cxn>
                <a:cxn ang="16200000">
                  <a:pos x="wd2" y="hd2"/>
                </a:cxn>
              </a:cxnLst>
              <a:rect l="0" t="0" r="r" b="b"/>
              <a:pathLst>
                <a:path w="21600" h="21600" extrusionOk="0">
                  <a:moveTo>
                    <a:pt x="12716" y="0"/>
                  </a:moveTo>
                  <a:lnTo>
                    <a:pt x="21600" y="21600"/>
                  </a:lnTo>
                  <a:lnTo>
                    <a:pt x="18353" y="21600"/>
                  </a:lnTo>
                  <a:lnTo>
                    <a:pt x="16310" y="16538"/>
                  </a:lnTo>
                  <a:lnTo>
                    <a:pt x="5164" y="16538"/>
                  </a:lnTo>
                  <a:lnTo>
                    <a:pt x="3119" y="21600"/>
                  </a:lnTo>
                  <a:lnTo>
                    <a:pt x="0" y="21600"/>
                  </a:lnTo>
                  <a:lnTo>
                    <a:pt x="8885" y="0"/>
                  </a:lnTo>
                  <a:cubicBezTo>
                    <a:pt x="8885" y="0"/>
                    <a:pt x="12716" y="0"/>
                    <a:pt x="12716" y="0"/>
                  </a:cubicBezTo>
                  <a:close/>
                  <a:moveTo>
                    <a:pt x="6694" y="12733"/>
                  </a:moveTo>
                  <a:lnTo>
                    <a:pt x="14777" y="12733"/>
                  </a:lnTo>
                  <a:lnTo>
                    <a:pt x="10727" y="2700"/>
                  </a:lnTo>
                  <a:cubicBezTo>
                    <a:pt x="10727" y="2700"/>
                    <a:pt x="6694" y="12733"/>
                    <a:pt x="6694" y="12733"/>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5" name="Shape 45"/>
            <p:cNvSpPr/>
            <p:nvPr/>
          </p:nvSpPr>
          <p:spPr>
            <a:xfrm>
              <a:off x="914400" y="647700"/>
              <a:ext cx="21959" cy="29401"/>
            </a:xfrm>
            <a:custGeom>
              <a:avLst/>
              <a:gdLst/>
              <a:ahLst/>
              <a:cxnLst>
                <a:cxn ang="0">
                  <a:pos x="wd2" y="hd2"/>
                </a:cxn>
                <a:cxn ang="5400000">
                  <a:pos x="wd2" y="hd2"/>
                </a:cxn>
                <a:cxn ang="10800000">
                  <a:pos x="wd2" y="hd2"/>
                </a:cxn>
                <a:cxn ang="16200000">
                  <a:pos x="wd2" y="hd2"/>
                </a:cxn>
              </a:cxnLst>
              <a:rect l="0" t="0" r="r" b="b"/>
              <a:pathLst>
                <a:path w="21600" h="21600" extrusionOk="0">
                  <a:moveTo>
                    <a:pt x="8445" y="3517"/>
                  </a:moveTo>
                  <a:lnTo>
                    <a:pt x="0" y="3517"/>
                  </a:lnTo>
                  <a:lnTo>
                    <a:pt x="0" y="0"/>
                  </a:lnTo>
                  <a:lnTo>
                    <a:pt x="21600" y="0"/>
                  </a:lnTo>
                  <a:lnTo>
                    <a:pt x="21600" y="3517"/>
                  </a:lnTo>
                  <a:lnTo>
                    <a:pt x="13155" y="3517"/>
                  </a:lnTo>
                  <a:lnTo>
                    <a:pt x="13155" y="21600"/>
                  </a:lnTo>
                  <a:lnTo>
                    <a:pt x="8445" y="21600"/>
                  </a:lnTo>
                  <a:cubicBezTo>
                    <a:pt x="8445" y="21600"/>
                    <a:pt x="8445" y="3517"/>
                    <a:pt x="8445" y="3517"/>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6" name="Shape 46"/>
            <p:cNvSpPr/>
            <p:nvPr/>
          </p:nvSpPr>
          <p:spPr>
            <a:xfrm>
              <a:off x="939800" y="647700"/>
              <a:ext cx="26607" cy="29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114" y="0"/>
                  </a:lnTo>
                  <a:lnTo>
                    <a:pt x="10795" y="10217"/>
                  </a:lnTo>
                  <a:lnTo>
                    <a:pt x="17486" y="0"/>
                  </a:lnTo>
                  <a:lnTo>
                    <a:pt x="21600" y="0"/>
                  </a:lnTo>
                  <a:lnTo>
                    <a:pt x="21600" y="21600"/>
                  </a:lnTo>
                  <a:lnTo>
                    <a:pt x="17734" y="21600"/>
                  </a:lnTo>
                  <a:lnTo>
                    <a:pt x="17734" y="6111"/>
                  </a:lnTo>
                  <a:lnTo>
                    <a:pt x="10795" y="16300"/>
                  </a:lnTo>
                  <a:lnTo>
                    <a:pt x="10671" y="16300"/>
                  </a:lnTo>
                  <a:lnTo>
                    <a:pt x="3804" y="6168"/>
                  </a:lnTo>
                  <a:lnTo>
                    <a:pt x="3804" y="21600"/>
                  </a:lnTo>
                  <a:lnTo>
                    <a:pt x="0" y="21600"/>
                  </a:lnTo>
                  <a:cubicBezTo>
                    <a:pt x="0" y="21600"/>
                    <a:pt x="0" y="0"/>
                    <a:pt x="0" y="0"/>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7" name="Shape 47"/>
            <p:cNvSpPr/>
            <p:nvPr/>
          </p:nvSpPr>
          <p:spPr>
            <a:xfrm>
              <a:off x="101600" y="469900"/>
              <a:ext cx="91237" cy="10762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cubicBezTo>
                    <a:pt x="21600" y="21600"/>
                    <a:pt x="21600" y="0"/>
                    <a:pt x="21600" y="0"/>
                  </a:cubicBezTo>
                  <a:close/>
                </a:path>
              </a:pathLst>
            </a:custGeom>
            <a:solidFill>
              <a:srgbClr val="951C00"/>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8" name="Shape 48"/>
            <p:cNvSpPr/>
            <p:nvPr/>
          </p:nvSpPr>
          <p:spPr>
            <a:xfrm>
              <a:off x="228600" y="419100"/>
              <a:ext cx="136830" cy="16139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cubicBezTo>
                    <a:pt x="21600" y="21600"/>
                    <a:pt x="21600" y="0"/>
                    <a:pt x="21600" y="0"/>
                  </a:cubicBezTo>
                  <a:close/>
                </a:path>
              </a:pathLst>
            </a:custGeom>
            <a:solidFill>
              <a:srgbClr val="BE2207"/>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49" name="Shape 49"/>
            <p:cNvSpPr/>
            <p:nvPr/>
          </p:nvSpPr>
          <p:spPr>
            <a:xfrm>
              <a:off x="406400" y="342900"/>
              <a:ext cx="205042" cy="24208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cubicBezTo>
                    <a:pt x="21600" y="21600"/>
                    <a:pt x="21600" y="0"/>
                    <a:pt x="21600" y="0"/>
                  </a:cubicBezTo>
                  <a:close/>
                </a:path>
              </a:pathLst>
            </a:custGeom>
            <a:solidFill>
              <a:srgbClr val="DD2312"/>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50" name="Shape 50"/>
            <p:cNvSpPr/>
            <p:nvPr/>
          </p:nvSpPr>
          <p:spPr>
            <a:xfrm>
              <a:off x="647700" y="215900"/>
              <a:ext cx="303480" cy="36306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cubicBezTo>
                    <a:pt x="21600" y="21600"/>
                    <a:pt x="21600" y="0"/>
                    <a:pt x="21600" y="0"/>
                  </a:cubicBezTo>
                  <a:close/>
                </a:path>
              </a:pathLst>
            </a:custGeom>
            <a:solidFill>
              <a:srgbClr val="EB2416"/>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grpSp>
      <p:sp>
        <p:nvSpPr>
          <p:cNvPr id="58" name="Shape 58"/>
          <p:cNvSpPr>
            <a:spLocks noGrp="1"/>
          </p:cNvSpPr>
          <p:nvPr>
            <p:ph type="sldNum" sz="quarter" idx="2"/>
          </p:nvPr>
        </p:nvSpPr>
        <p:spPr>
          <a:xfrm>
            <a:off x="446232" y="4815841"/>
            <a:ext cx="216791" cy="169068"/>
          </a:xfrm>
          <a:prstGeom prst="rect">
            <a:avLst/>
          </a:prstGeom>
        </p:spPr>
        <p:txBody>
          <a:bodyPr/>
          <a:lstStyle>
            <a:lvl1pPr>
              <a:defRPr sz="563">
                <a:latin typeface="+mj-lt"/>
              </a:defRPr>
            </a:lvl1pPr>
          </a:lstStyle>
          <a:p>
            <a:fld id="{86CB4B4D-7CA3-9044-876B-883B54F8677D}" type="slidenum">
              <a:rPr lang="en-GB" smtClean="0"/>
              <a:pPr/>
              <a:t>‹#›</a:t>
            </a:fld>
            <a:endParaRPr lang="en-GB" dirty="0"/>
          </a:p>
        </p:txBody>
      </p:sp>
      <p:pic>
        <p:nvPicPr>
          <p:cNvPr id="22" name="image6.png"/>
          <p:cNvPicPr>
            <a:picLocks noChangeAspect="1"/>
          </p:cNvPicPr>
          <p:nvPr userDrawn="1"/>
        </p:nvPicPr>
        <p:blipFill>
          <a:blip r:embed="rId6">
            <a:extLst/>
          </a:blip>
          <a:stretch>
            <a:fillRect/>
          </a:stretch>
        </p:blipFill>
        <p:spPr>
          <a:xfrm>
            <a:off x="464821" y="4643119"/>
            <a:ext cx="8214361" cy="44451"/>
          </a:xfrm>
          <a:prstGeom prst="rect">
            <a:avLst/>
          </a:prstGeom>
          <a:ln w="12700">
            <a:miter lim="400000"/>
          </a:ln>
        </p:spPr>
      </p:pic>
    </p:spTree>
    <p:extLst>
      <p:ext uri="{BB962C8B-B14F-4D97-AF65-F5344CB8AC3E}">
        <p14:creationId xmlns:p14="http://schemas.microsoft.com/office/powerpoint/2010/main" val="977585864"/>
      </p:ext>
    </p:extLst>
  </p:cSld>
  <p:clrMapOvr>
    <a:masterClrMapping/>
  </p:clrMapOvr>
  <p:transition spd="med"/>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CFF9C6C-E598-404E-A7F4-55A1373A50F7}" type="datetimeFigureOut">
              <a:rPr lang="en-GB" smtClean="0"/>
              <a:t>07/08/2019</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9D9C73A-367C-4710-98B5-BACF58640B06}" type="slidenum">
              <a:rPr lang="en-GB" smtClean="0"/>
              <a:t>‹#›</a:t>
            </a:fld>
            <a:endParaRPr lang="en-GB"/>
          </a:p>
        </p:txBody>
      </p:sp>
    </p:spTree>
    <p:extLst>
      <p:ext uri="{BB962C8B-B14F-4D97-AF65-F5344CB8AC3E}">
        <p14:creationId xmlns:p14="http://schemas.microsoft.com/office/powerpoint/2010/main" val="2549131844"/>
      </p:ext>
    </p:extLst>
  </p:cSld>
  <p:clrMapOvr>
    <a:masterClrMapping/>
  </p:clrMapOvr>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GB"/>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3CFF9C6C-E598-404E-A7F4-55A1373A50F7}" type="datetimeFigureOut">
              <a:rPr lang="en-GB" smtClean="0"/>
              <a:t>07/08/2019</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9D9C73A-367C-4710-98B5-BACF58640B06}" type="slidenum">
              <a:rPr lang="en-GB" smtClean="0"/>
              <a:t>‹#›</a:t>
            </a:fld>
            <a:endParaRPr lang="en-GB"/>
          </a:p>
        </p:txBody>
      </p:sp>
    </p:spTree>
    <p:extLst>
      <p:ext uri="{BB962C8B-B14F-4D97-AF65-F5344CB8AC3E}">
        <p14:creationId xmlns:p14="http://schemas.microsoft.com/office/powerpoint/2010/main" val="899013817"/>
      </p:ext>
    </p:extLst>
  </p:cSld>
  <p:clrMapOvr>
    <a:masterClrMapping/>
  </p:clrMapOvr>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GB"/>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3CFF9C6C-E598-404E-A7F4-55A1373A50F7}" type="datetimeFigureOut">
              <a:rPr lang="en-GB" smtClean="0"/>
              <a:t>07/08/2019</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9D9C73A-367C-4710-98B5-BACF58640B06}" type="slidenum">
              <a:rPr lang="en-GB" smtClean="0"/>
              <a:t>‹#›</a:t>
            </a:fld>
            <a:endParaRPr lang="en-GB"/>
          </a:p>
        </p:txBody>
      </p:sp>
    </p:spTree>
    <p:extLst>
      <p:ext uri="{BB962C8B-B14F-4D97-AF65-F5344CB8AC3E}">
        <p14:creationId xmlns:p14="http://schemas.microsoft.com/office/powerpoint/2010/main" val="1497176733"/>
      </p:ext>
    </p:extLst>
  </p:cSld>
  <p:clrMapOvr>
    <a:masterClrMapping/>
  </p:clrMapOvr>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3CFF9C6C-E598-404E-A7F4-55A1373A50F7}" type="datetimeFigureOut">
              <a:rPr lang="en-GB" smtClean="0"/>
              <a:t>07/08/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9D9C73A-367C-4710-98B5-BACF58640B06}" type="slidenum">
              <a:rPr lang="en-GB" smtClean="0"/>
              <a:t>‹#›</a:t>
            </a:fld>
            <a:endParaRPr lang="en-GB"/>
          </a:p>
        </p:txBody>
      </p:sp>
    </p:spTree>
    <p:extLst>
      <p:ext uri="{BB962C8B-B14F-4D97-AF65-F5344CB8AC3E}">
        <p14:creationId xmlns:p14="http://schemas.microsoft.com/office/powerpoint/2010/main" val="4177448147"/>
      </p:ext>
    </p:extLst>
  </p:cSld>
  <p:clrMapOvr>
    <a:masterClrMapping/>
  </p:clrMapOvr>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3CFF9C6C-E598-404E-A7F4-55A1373A50F7}" type="datetimeFigureOut">
              <a:rPr lang="en-GB" smtClean="0"/>
              <a:t>07/08/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9D9C73A-367C-4710-98B5-BACF58640B06}" type="slidenum">
              <a:rPr lang="en-GB" smtClean="0"/>
              <a:t>‹#›</a:t>
            </a:fld>
            <a:endParaRPr lang="en-GB"/>
          </a:p>
        </p:txBody>
      </p:sp>
    </p:spTree>
    <p:extLst>
      <p:ext uri="{BB962C8B-B14F-4D97-AF65-F5344CB8AC3E}">
        <p14:creationId xmlns:p14="http://schemas.microsoft.com/office/powerpoint/2010/main" val="2261620575"/>
      </p:ext>
    </p:extLst>
  </p:cSld>
  <p:clrMapOvr>
    <a:masterClrMapping/>
  </p:clrMapOvr>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GSMA Title and Bullete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48515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558" name="think-cell Slide" r:id="rId4" imgW="423" imgH="424" progId="TCLayout.ActiveDocument.1">
                  <p:embed/>
                </p:oleObj>
              </mc:Choice>
              <mc:Fallback>
                <p:oleObj name="think-cell Slide" r:id="rId4" imgW="423" imgH="4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467544" y="1347614"/>
            <a:ext cx="8128882" cy="3185146"/>
          </a:xfrm>
          <a:prstGeom prst="rect">
            <a:avLst/>
          </a:prstGeom>
        </p:spPr>
        <p:txBody>
          <a:bodyPr/>
          <a:lstStyle>
            <a:lvl1pPr marL="342900" indent="-342900">
              <a:buClr>
                <a:srgbClr val="E30613"/>
              </a:buClr>
              <a:buSzPct val="90000"/>
              <a:buFont typeface="Wingdings" charset="2"/>
              <a:buChar char="§"/>
              <a:defRPr>
                <a:solidFill>
                  <a:schemeClr val="tx2"/>
                </a:solidFill>
              </a:defRPr>
            </a:lvl1pPr>
            <a:lvl2pPr marL="742950" indent="-285750">
              <a:buClr>
                <a:srgbClr val="E30613"/>
              </a:buClr>
              <a:buSzPct val="90000"/>
              <a:buFont typeface="Wingdings" charset="2"/>
              <a:buChar char="§"/>
              <a:defRPr>
                <a:solidFill>
                  <a:schemeClr val="tx2"/>
                </a:solidFill>
              </a:defRPr>
            </a:lvl2pPr>
            <a:lvl3pPr marL="1143000" indent="-228600">
              <a:buClr>
                <a:srgbClr val="E30613"/>
              </a:buClr>
              <a:buSzPct val="90000"/>
              <a:buFont typeface="Wingdings" charset="2"/>
              <a:buChar char="§"/>
              <a:defRPr>
                <a:solidFill>
                  <a:schemeClr val="tx2"/>
                </a:solidFill>
              </a:defRPr>
            </a:lvl3pPr>
            <a:lvl4pPr marL="1600200" indent="-228600">
              <a:buClr>
                <a:srgbClr val="E30613"/>
              </a:buClr>
              <a:buSzPct val="90000"/>
              <a:buFont typeface="Wingdings" charset="2"/>
              <a:buChar char="§"/>
              <a:defRPr>
                <a:solidFill>
                  <a:schemeClr val="tx2"/>
                </a:solidFill>
              </a:defRPr>
            </a:lvl4pPr>
            <a:lvl5pPr marL="2057400" indent="-228600">
              <a:buClr>
                <a:srgbClr val="E30613"/>
              </a:buClr>
              <a:buSzPct val="90000"/>
              <a:buFont typeface="Wingdings" charset="2"/>
              <a:buChar char="§"/>
              <a:defRPr>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Slide Number Placeholder 4"/>
          <p:cNvSpPr>
            <a:spLocks noGrp="1"/>
          </p:cNvSpPr>
          <p:nvPr>
            <p:ph type="sldNum" sz="quarter" idx="15"/>
          </p:nvPr>
        </p:nvSpPr>
        <p:spPr>
          <a:xfrm>
            <a:off x="420688" y="4826858"/>
            <a:ext cx="2133600" cy="273844"/>
          </a:xfrm>
        </p:spPr>
        <p:txBody>
          <a:bodyPr/>
          <a:lstStyle/>
          <a:p>
            <a:fld id="{E52D2AFC-71C4-4511-B128-4ECEE52D3027}" type="slidenum">
              <a:rPr lang="en-ZA" smtClean="0"/>
              <a:pPr/>
              <a:t>‹#›</a:t>
            </a:fld>
            <a:endParaRPr lang="en-ZA" dirty="0"/>
          </a:p>
        </p:txBody>
      </p:sp>
      <p:sp>
        <p:nvSpPr>
          <p:cNvPr id="5" name="Title Placeholder 1"/>
          <p:cNvSpPr>
            <a:spLocks noGrp="1"/>
          </p:cNvSpPr>
          <p:nvPr>
            <p:ph type="title"/>
          </p:nvPr>
        </p:nvSpPr>
        <p:spPr>
          <a:xfrm>
            <a:off x="1197114" y="396000"/>
            <a:ext cx="7399312" cy="857250"/>
          </a:xfrm>
          <a:prstGeom prst="rect">
            <a:avLst/>
          </a:prstGeom>
        </p:spPr>
        <p:txBody>
          <a:bodyPr vert="horz" lIns="91440" tIns="45720" rIns="91440" bIns="45720" rtlCol="0" anchor="t" anchorCtr="0">
            <a:normAutofit/>
          </a:bodyPr>
          <a:lstStyle>
            <a:lvl1pPr>
              <a:defRPr sz="2400">
                <a:solidFill>
                  <a:srgbClr val="575756"/>
                </a:solidFill>
              </a:defRPr>
            </a:lvl1pPr>
          </a:lstStyle>
          <a:p>
            <a:r>
              <a:rPr lang="en-US" dirty="0"/>
              <a:t>Click to edit Master title style</a:t>
            </a:r>
            <a:endParaRPr lang="en-ZA" dirty="0"/>
          </a:p>
        </p:txBody>
      </p:sp>
    </p:spTree>
    <p:extLst>
      <p:ext uri="{BB962C8B-B14F-4D97-AF65-F5344CB8AC3E}">
        <p14:creationId xmlns:p14="http://schemas.microsoft.com/office/powerpoint/2010/main" val="11026355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l="43713"/>
          <a:stretch/>
        </p:blipFill>
        <p:spPr>
          <a:xfrm>
            <a:off x="0" y="-18321"/>
            <a:ext cx="9144000" cy="5161823"/>
          </a:xfrm>
          <a:prstGeom prst="rect">
            <a:avLst/>
          </a:prstGeom>
        </p:spPr>
      </p:pic>
      <p:pic>
        <p:nvPicPr>
          <p:cNvPr id="4" name="Picture 3"/>
          <p:cNvPicPr>
            <a:picLocks noChangeAspect="1"/>
          </p:cNvPicPr>
          <p:nvPr userDrawn="1"/>
        </p:nvPicPr>
        <p:blipFill>
          <a:blip r:embed="rId3"/>
          <a:stretch>
            <a:fillRect/>
          </a:stretch>
        </p:blipFill>
        <p:spPr>
          <a:xfrm>
            <a:off x="434104" y="392127"/>
            <a:ext cx="617861" cy="617861"/>
          </a:xfrm>
          <a:prstGeom prst="rect">
            <a:avLst/>
          </a:prstGeom>
        </p:spPr>
      </p:pic>
      <p:sp>
        <p:nvSpPr>
          <p:cNvPr id="5" name="TextBox 4"/>
          <p:cNvSpPr txBox="1"/>
          <p:nvPr userDrawn="1"/>
        </p:nvSpPr>
        <p:spPr>
          <a:xfrm>
            <a:off x="321960" y="4313907"/>
            <a:ext cx="5233451" cy="523220"/>
          </a:xfrm>
          <a:prstGeom prst="rect">
            <a:avLst/>
          </a:prstGeom>
          <a:noFill/>
        </p:spPr>
        <p:txBody>
          <a:bodyPr wrap="square" rtlCol="0">
            <a:spAutoFit/>
          </a:bodyPr>
          <a:lstStyle/>
          <a:p>
            <a:r>
              <a:rPr lang="en-US" sz="1400" dirty="0" smtClean="0">
                <a:solidFill>
                  <a:schemeClr val="bg1"/>
                </a:solidFill>
                <a:latin typeface="Arial" charset="0"/>
                <a:ea typeface="Arial" charset="0"/>
                <a:cs typeface="Arial" charset="0"/>
              </a:rPr>
              <a:t>To download the full report please visit </a:t>
            </a:r>
          </a:p>
          <a:p>
            <a:r>
              <a:rPr lang="en-US" sz="1400" dirty="0" smtClean="0">
                <a:solidFill>
                  <a:schemeClr val="bg1"/>
                </a:solidFill>
                <a:latin typeface="Arial" charset="0"/>
                <a:ea typeface="Arial" charset="0"/>
                <a:cs typeface="Arial" charset="0"/>
              </a:rPr>
              <a:t>the GSMA website at </a:t>
            </a:r>
            <a:r>
              <a:rPr lang="en-US" sz="1400" b="1" dirty="0" err="1" smtClean="0">
                <a:solidFill>
                  <a:schemeClr val="bg1"/>
                </a:solidFill>
                <a:latin typeface="Arial" charset="0"/>
                <a:ea typeface="Arial" charset="0"/>
                <a:cs typeface="Arial" charset="0"/>
              </a:rPr>
              <a:t>www.gsma.com</a:t>
            </a:r>
            <a:r>
              <a:rPr lang="en-US" sz="1400" b="1" dirty="0" smtClean="0">
                <a:solidFill>
                  <a:schemeClr val="bg1"/>
                </a:solidFill>
                <a:latin typeface="Arial" charset="0"/>
                <a:ea typeface="Arial" charset="0"/>
                <a:cs typeface="Arial" charset="0"/>
              </a:rPr>
              <a:t>/</a:t>
            </a:r>
            <a:r>
              <a:rPr lang="en-US" sz="1400" b="1" dirty="0" err="1" smtClean="0">
                <a:solidFill>
                  <a:schemeClr val="bg1"/>
                </a:solidFill>
                <a:latin typeface="Arial" charset="0"/>
                <a:ea typeface="Arial" charset="0"/>
                <a:cs typeface="Arial" charset="0"/>
              </a:rPr>
              <a:t>sotir</a:t>
            </a:r>
            <a:endParaRPr lang="en-US" sz="1400" b="1"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1373228852"/>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375"/>
            <a:ext cx="6858000" cy="1790700"/>
          </a:xfrm>
          <a:prstGeom prst="rect">
            <a:avLst/>
          </a:prstGeo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143000" y="2701925"/>
            <a:ext cx="6858000" cy="124142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a:xfrm>
            <a:off x="628650" y="4767263"/>
            <a:ext cx="2057400" cy="274637"/>
          </a:xfrm>
          <a:prstGeom prst="rect">
            <a:avLst/>
          </a:prstGeom>
        </p:spPr>
        <p:txBody>
          <a:bodyPr/>
          <a:lstStyle/>
          <a:p>
            <a:fld id="{61EEFC3E-8671-4EA3-B49C-551C8C4AFA90}" type="datetimeFigureOut">
              <a:rPr lang="en-GB" smtClean="0"/>
              <a:t>07/08/2019</a:t>
            </a:fld>
            <a:endParaRPr lang="en-GB"/>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fld id="{42772CF0-1AC0-453A-BACF-4BCDED90BFB0}" type="slidenum">
              <a:rPr lang="en-GB" smtClean="0"/>
              <a:t>‹#›</a:t>
            </a:fld>
            <a:endParaRPr lang="en-GB"/>
          </a:p>
        </p:txBody>
      </p:sp>
    </p:spTree>
    <p:extLst>
      <p:ext uri="{BB962C8B-B14F-4D97-AF65-F5344CB8AC3E}">
        <p14:creationId xmlns:p14="http://schemas.microsoft.com/office/powerpoint/2010/main" val="297869758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628650" y="1370013"/>
            <a:ext cx="7886700" cy="3262312"/>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628650" y="4767263"/>
            <a:ext cx="2057400" cy="274637"/>
          </a:xfrm>
          <a:prstGeom prst="rect">
            <a:avLst/>
          </a:prstGeom>
        </p:spPr>
        <p:txBody>
          <a:bodyPr/>
          <a:lstStyle/>
          <a:p>
            <a:fld id="{61EEFC3E-8671-4EA3-B49C-551C8C4AFA90}" type="datetimeFigureOut">
              <a:rPr lang="en-GB" smtClean="0"/>
              <a:t>07/08/2019</a:t>
            </a:fld>
            <a:endParaRPr lang="en-GB"/>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fld id="{42772CF0-1AC0-453A-BACF-4BCDED90BFB0}" type="slidenum">
              <a:rPr lang="en-GB" smtClean="0"/>
              <a:t>‹#›</a:t>
            </a:fld>
            <a:endParaRPr lang="en-GB"/>
          </a:p>
        </p:txBody>
      </p:sp>
    </p:spTree>
    <p:extLst>
      <p:ext uri="{BB962C8B-B14F-4D97-AF65-F5344CB8AC3E}">
        <p14:creationId xmlns:p14="http://schemas.microsoft.com/office/powerpoint/2010/main" val="78047980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39950"/>
          </a:xfrm>
          <a:prstGeom prst="rect">
            <a:avLst/>
          </a:prstGeo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623888" y="3441700"/>
            <a:ext cx="7886700" cy="1125538"/>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a:xfrm>
            <a:off x="628650" y="4767263"/>
            <a:ext cx="2057400" cy="274637"/>
          </a:xfrm>
          <a:prstGeom prst="rect">
            <a:avLst/>
          </a:prstGeom>
        </p:spPr>
        <p:txBody>
          <a:bodyPr/>
          <a:lstStyle/>
          <a:p>
            <a:fld id="{61EEFC3E-8671-4EA3-B49C-551C8C4AFA90}" type="datetimeFigureOut">
              <a:rPr lang="en-GB" smtClean="0"/>
              <a:t>07/08/2019</a:t>
            </a:fld>
            <a:endParaRPr lang="en-GB"/>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fld id="{42772CF0-1AC0-453A-BACF-4BCDED90BFB0}" type="slidenum">
              <a:rPr lang="en-GB" smtClean="0"/>
              <a:t>‹#›</a:t>
            </a:fld>
            <a:endParaRPr lang="en-GB"/>
          </a:p>
        </p:txBody>
      </p:sp>
    </p:spTree>
    <p:extLst>
      <p:ext uri="{BB962C8B-B14F-4D97-AF65-F5344CB8AC3E}">
        <p14:creationId xmlns:p14="http://schemas.microsoft.com/office/powerpoint/2010/main" val="164345140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emf"/><Relationship Id="rId4" Type="http://schemas.openxmlformats.org/officeDocument/2006/relationships/image" Target="../media/image2.emf"/></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13.vml"/><Relationship Id="rId3" Type="http://schemas.openxmlformats.org/officeDocument/2006/relationships/slideLayout" Target="../slideLayouts/slideLayout68.xml"/><Relationship Id="rId7" Type="http://schemas.openxmlformats.org/officeDocument/2006/relationships/theme" Target="../theme/theme10.xml"/><Relationship Id="rId12" Type="http://schemas.openxmlformats.org/officeDocument/2006/relationships/image" Target="../media/image6.emf"/><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image" Target="../media/image5.emf"/><Relationship Id="rId5" Type="http://schemas.openxmlformats.org/officeDocument/2006/relationships/slideLayout" Target="../slideLayouts/slideLayout70.xml"/><Relationship Id="rId10" Type="http://schemas.openxmlformats.org/officeDocument/2006/relationships/oleObject" Target="../embeddings/oleObject13.bin"/><Relationship Id="rId4" Type="http://schemas.openxmlformats.org/officeDocument/2006/relationships/slideLayout" Target="../slideLayouts/slideLayout69.xml"/><Relationship Id="rId9" Type="http://schemas.openxmlformats.org/officeDocument/2006/relationships/tags" Target="../tags/tag14.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74.xml"/><Relationship Id="rId7" Type="http://schemas.openxmlformats.org/officeDocument/2006/relationships/image" Target="../media/image6.emf"/><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heme" Target="../theme/theme11.xml"/><Relationship Id="rId5" Type="http://schemas.openxmlformats.org/officeDocument/2006/relationships/slideLayout" Target="../slideLayouts/slideLayout76.xml"/><Relationship Id="rId4" Type="http://schemas.openxmlformats.org/officeDocument/2006/relationships/slideLayout" Target="../slideLayouts/slideLayout75.xml"/></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13" Type="http://schemas.openxmlformats.org/officeDocument/2006/relationships/image" Target="../media/image6.emf"/><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image" Target="../media/image5.emf"/><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oleObject" Target="../embeddings/oleObject15.bin"/><Relationship Id="rId5" Type="http://schemas.openxmlformats.org/officeDocument/2006/relationships/slideLayout" Target="../slideLayouts/slideLayout81.xml"/><Relationship Id="rId10" Type="http://schemas.openxmlformats.org/officeDocument/2006/relationships/tags" Target="../tags/tag16.xml"/><Relationship Id="rId4" Type="http://schemas.openxmlformats.org/officeDocument/2006/relationships/slideLayout" Target="../slideLayouts/slideLayout80.xml"/><Relationship Id="rId9" Type="http://schemas.openxmlformats.org/officeDocument/2006/relationships/vmlDrawing" Target="../drawings/vmlDrawing15.v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image" Target="../media/image5.emf"/><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oleObject" Target="../embeddings/oleObject18.bin"/><Relationship Id="rId2" Type="http://schemas.openxmlformats.org/officeDocument/2006/relationships/slideLayout" Target="../slideLayouts/slideLayout85.xml"/><Relationship Id="rId16" Type="http://schemas.openxmlformats.org/officeDocument/2006/relationships/tags" Target="../tags/tag19.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vmlDrawing" Target="../drawings/vmlDrawing18.vml"/><Relationship Id="rId10" Type="http://schemas.openxmlformats.org/officeDocument/2006/relationships/slideLayout" Target="../slideLayouts/slideLayout93.xml"/><Relationship Id="rId19" Type="http://schemas.openxmlformats.org/officeDocument/2006/relationships/image" Target="../media/image6.emf"/><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vmlDrawing" Target="../drawings/vmlDrawing20.v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theme" Target="../theme/theme14.xml"/><Relationship Id="rId2" Type="http://schemas.openxmlformats.org/officeDocument/2006/relationships/slideLayout" Target="../slideLayouts/slideLayout98.xml"/><Relationship Id="rId16" Type="http://schemas.openxmlformats.org/officeDocument/2006/relationships/image" Target="../media/image5.emf"/><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oleObject" Target="../embeddings/oleObject20.bin"/><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tags" Target="../tags/tag21.xml"/></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22.vml"/><Relationship Id="rId3" Type="http://schemas.openxmlformats.org/officeDocument/2006/relationships/slideLayout" Target="../slideLayouts/slideLayout110.xml"/><Relationship Id="rId7" Type="http://schemas.openxmlformats.org/officeDocument/2006/relationships/theme" Target="../theme/theme15.xml"/><Relationship Id="rId12" Type="http://schemas.openxmlformats.org/officeDocument/2006/relationships/image" Target="../media/image6.emf"/><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image" Target="../media/image5.emf"/><Relationship Id="rId5" Type="http://schemas.openxmlformats.org/officeDocument/2006/relationships/slideLayout" Target="../slideLayouts/slideLayout112.xml"/><Relationship Id="rId10" Type="http://schemas.openxmlformats.org/officeDocument/2006/relationships/oleObject" Target="../embeddings/oleObject22.bin"/><Relationship Id="rId4" Type="http://schemas.openxmlformats.org/officeDocument/2006/relationships/slideLayout" Target="../slideLayouts/slideLayout111.xml"/><Relationship Id="rId9" Type="http://schemas.openxmlformats.org/officeDocument/2006/relationships/tags" Target="../tags/tag23.xml"/></Relationships>
</file>

<file path=ppt/slideMasters/_rels/slideMaster16.xml.rels><?xml version="1.0" encoding="UTF-8" standalone="yes"?>
<Relationships xmlns="http://schemas.openxmlformats.org/package/2006/relationships"><Relationship Id="rId8" Type="http://schemas.openxmlformats.org/officeDocument/2006/relationships/vmlDrawing" Target="../drawings/vmlDrawing24.vml"/><Relationship Id="rId3" Type="http://schemas.openxmlformats.org/officeDocument/2006/relationships/slideLayout" Target="../slideLayouts/slideLayout116.xml"/><Relationship Id="rId7" Type="http://schemas.openxmlformats.org/officeDocument/2006/relationships/theme" Target="../theme/theme16.xml"/><Relationship Id="rId12" Type="http://schemas.openxmlformats.org/officeDocument/2006/relationships/image" Target="../media/image6.emf"/><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image" Target="../media/image5.emf"/><Relationship Id="rId5" Type="http://schemas.openxmlformats.org/officeDocument/2006/relationships/slideLayout" Target="../slideLayouts/slideLayout118.xml"/><Relationship Id="rId10" Type="http://schemas.openxmlformats.org/officeDocument/2006/relationships/oleObject" Target="../embeddings/oleObject24.bin"/><Relationship Id="rId4" Type="http://schemas.openxmlformats.org/officeDocument/2006/relationships/slideLayout" Target="../slideLayouts/slideLayout117.xml"/><Relationship Id="rId9" Type="http://schemas.openxmlformats.org/officeDocument/2006/relationships/tags" Target="../tags/tag25.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122.xml"/><Relationship Id="rId7" Type="http://schemas.openxmlformats.org/officeDocument/2006/relationships/image" Target="../media/image2.emf"/><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image" Target="../media/image6.emf"/><Relationship Id="rId5" Type="http://schemas.openxmlformats.org/officeDocument/2006/relationships/theme" Target="../theme/theme17.xml"/><Relationship Id="rId4" Type="http://schemas.openxmlformats.org/officeDocument/2006/relationships/slideLayout" Target="../slideLayouts/slideLayout123.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6.emf"/><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image" Target="../media/image5.emf"/><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oleObject" Target="../embeddings/oleObject1.bin"/><Relationship Id="rId5" Type="http://schemas.openxmlformats.org/officeDocument/2006/relationships/slideLayout" Target="../slideLayouts/slideLayout7.xml"/><Relationship Id="rId10" Type="http://schemas.openxmlformats.org/officeDocument/2006/relationships/tags" Target="../tags/tag2.xml"/><Relationship Id="rId4" Type="http://schemas.openxmlformats.org/officeDocument/2006/relationships/slideLayout" Target="../slideLayouts/slideLayout6.xml"/><Relationship Id="rId9" Type="http://schemas.openxmlformats.org/officeDocument/2006/relationships/vmlDrawing" Target="../drawings/vmlDrawing1.v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image" Target="../media/image6.emf"/><Relationship Id="rId5" Type="http://schemas.openxmlformats.org/officeDocument/2006/relationships/theme" Target="../theme/theme4.xml"/><Relationship Id="rId4" Type="http://schemas.openxmlformats.org/officeDocument/2006/relationships/slideLayout" Target="../slideLayouts/slideLayout1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image" Target="../media/image12.gi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5.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vmlDrawing" Target="../drawings/vmlDrawing4.v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6.xml"/><Relationship Id="rId2" Type="http://schemas.openxmlformats.org/officeDocument/2006/relationships/slideLayout" Target="../slideLayouts/slideLayout29.xml"/><Relationship Id="rId16" Type="http://schemas.openxmlformats.org/officeDocument/2006/relationships/image" Target="../media/image14.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oleObject" Target="../embeddings/oleObject4.bin"/><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ags" Target="../tags/tag5.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41.xml"/><Relationship Id="rId7" Type="http://schemas.openxmlformats.org/officeDocument/2006/relationships/image" Target="../media/image6.emf"/><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heme" Target="../theme/theme7.xml"/><Relationship Id="rId5" Type="http://schemas.openxmlformats.org/officeDocument/2006/relationships/slideLayout" Target="../slideLayouts/slideLayout43.xml"/><Relationship Id="rId4" Type="http://schemas.openxmlformats.org/officeDocument/2006/relationships/slideLayout" Target="../slideLayouts/slideLayout4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tags" Target="../tags/tag8.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vmlDrawing" Target="../drawings/vmlDrawing7.v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heme" Target="../theme/theme8.xml"/><Relationship Id="rId5" Type="http://schemas.openxmlformats.org/officeDocument/2006/relationships/slideLayout" Target="../slideLayouts/slideLayout48.xml"/><Relationship Id="rId15" Type="http://schemas.openxmlformats.org/officeDocument/2006/relationships/image" Target="../media/image14.emf"/><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oleObject" Target="../embeddings/oleObject7.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9.xml"/><Relationship Id="rId18" Type="http://schemas.openxmlformats.org/officeDocument/2006/relationships/image" Target="../media/image17.jpeg"/><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image" Target="../media/image16.emf"/><Relationship Id="rId2" Type="http://schemas.openxmlformats.org/officeDocument/2006/relationships/slideLayout" Target="../slideLayouts/slideLayout55.xml"/><Relationship Id="rId16" Type="http://schemas.openxmlformats.org/officeDocument/2006/relationships/oleObject" Target="../embeddings/oleObject9.bin"/><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tags" Target="../tags/tag10.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35541" cy="5143500"/>
          </a:xfrm>
          <a:prstGeom prst="rect">
            <a:avLst/>
          </a:prstGeom>
        </p:spPr>
      </p:pic>
      <p:pic>
        <p:nvPicPr>
          <p:cNvPr id="5" name="Picture 4"/>
          <p:cNvPicPr>
            <a:picLocks noChangeAspect="1"/>
          </p:cNvPicPr>
          <p:nvPr userDrawn="1"/>
        </p:nvPicPr>
        <p:blipFill>
          <a:blip r:embed="rId4"/>
          <a:stretch>
            <a:fillRect/>
          </a:stretch>
        </p:blipFill>
        <p:spPr>
          <a:xfrm>
            <a:off x="434104" y="392127"/>
            <a:ext cx="617861" cy="617861"/>
          </a:xfrm>
          <a:prstGeom prst="rect">
            <a:avLst/>
          </a:prstGeom>
        </p:spPr>
      </p:pic>
      <p:pic>
        <p:nvPicPr>
          <p:cNvPr id="6" name="Picture 5"/>
          <p:cNvPicPr>
            <a:picLocks noChangeAspect="1"/>
          </p:cNvPicPr>
          <p:nvPr userDrawn="1"/>
        </p:nvPicPr>
        <p:blipFill>
          <a:blip r:embed="rId5"/>
          <a:stretch>
            <a:fillRect/>
          </a:stretch>
        </p:blipFill>
        <p:spPr>
          <a:xfrm>
            <a:off x="434104" y="4675680"/>
            <a:ext cx="1807323" cy="92683"/>
          </a:xfrm>
          <a:prstGeom prst="rect">
            <a:avLst/>
          </a:prstGeom>
        </p:spPr>
      </p:pic>
    </p:spTree>
    <p:extLst>
      <p:ext uri="{BB962C8B-B14F-4D97-AF65-F5344CB8AC3E}">
        <p14:creationId xmlns:p14="http://schemas.microsoft.com/office/powerpoint/2010/main" val="4276675816"/>
      </p:ext>
    </p:extLst>
  </p:cSld>
  <p:clrMap bg1="lt1" tx1="dk1" bg2="lt2" tx2="dk2" accent1="accent1" accent2="accent2" accent3="accent3" accent4="accent4" accent5="accent5" accent6="accent6" hlink="hlink" folHlink="folHlink"/>
  <p:sldLayoutIdLst>
    <p:sldLayoutId id="2147483697" r:id="rId1"/>
  </p:sldLayoutIdLst>
  <p:timing>
    <p:tnLst>
      <p:par>
        <p:cTn id="1" dur="indefinite" restart="never" nodeType="tmRoot"/>
      </p:par>
    </p:tnLst>
  </p:timing>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extLst>
              <p:ext uri="{D42A27DB-BD31-4B8C-83A1-F6EECF244321}">
                <p14:modId xmlns:p14="http://schemas.microsoft.com/office/powerpoint/2010/main" val="206677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463" name="think-cell Slide" r:id="rId10" imgW="423" imgH="424" progId="TCLayout.ActiveDocument.1">
                  <p:embed/>
                </p:oleObj>
              </mc:Choice>
              <mc:Fallback>
                <p:oleObj name="think-cell Slide" r:id="rId10" imgW="423" imgH="424"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12"/>
          <a:stretch>
            <a:fillRect/>
          </a:stretch>
        </p:blipFill>
        <p:spPr>
          <a:xfrm>
            <a:off x="5874818" y="4276166"/>
            <a:ext cx="3269181" cy="867334"/>
          </a:xfrm>
          <a:prstGeom prst="rect">
            <a:avLst/>
          </a:prstGeom>
        </p:spPr>
      </p:pic>
    </p:spTree>
    <p:extLst>
      <p:ext uri="{BB962C8B-B14F-4D97-AF65-F5344CB8AC3E}">
        <p14:creationId xmlns:p14="http://schemas.microsoft.com/office/powerpoint/2010/main" val="153172643"/>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Lst>
  <p:timing>
    <p:tnLst>
      <p:par>
        <p:cTn id="1" dur="indefinite" restart="never" nodeType="tmRoot"/>
      </p:par>
    </p:tnLst>
  </p:timing>
  <p:hf hdr="0" ftr="0" dt="0"/>
  <p:txStyles>
    <p:titleStyle>
      <a:lvl1pPr algn="l" defTabSz="685800" rtl="0" eaLnBrk="1" latinLnBrk="0" hangingPunct="1">
        <a:spcBef>
          <a:spcPct val="0"/>
        </a:spcBef>
        <a:buNone/>
        <a:defRPr sz="1800" b="1" i="0" kern="1200">
          <a:solidFill>
            <a:schemeClr val="tx2"/>
          </a:solidFill>
          <a:latin typeface="Arial" charset="0"/>
          <a:ea typeface="Arial" charset="0"/>
          <a:cs typeface="Arial" charset="0"/>
        </a:defRPr>
      </a:lvl1pPr>
    </p:titleStyle>
    <p:bodyStyle>
      <a:lvl1pPr marL="257175" indent="-257175" algn="l" defTabSz="685800" rtl="0" eaLnBrk="1" latinLnBrk="0" hangingPunct="1">
        <a:lnSpc>
          <a:spcPct val="120000"/>
        </a:lnSpc>
        <a:spcBef>
          <a:spcPct val="20000"/>
        </a:spcBef>
        <a:buClr>
          <a:schemeClr val="accent2"/>
        </a:buClr>
        <a:buFont typeface="Wingdings" charset="2"/>
        <a:buChar char="§"/>
        <a:defRPr sz="1500" b="0" i="0" kern="1200">
          <a:solidFill>
            <a:schemeClr val="tx1"/>
          </a:solidFill>
          <a:latin typeface="Arial" charset="0"/>
          <a:ea typeface="Arial" charset="0"/>
          <a:cs typeface="Arial" charset="0"/>
        </a:defRPr>
      </a:lvl1pPr>
      <a:lvl2pPr marL="557213" indent="-214313" algn="l" defTabSz="685800" rtl="0" eaLnBrk="1" latinLnBrk="0" hangingPunct="1">
        <a:lnSpc>
          <a:spcPct val="120000"/>
        </a:lnSpc>
        <a:spcBef>
          <a:spcPct val="20000"/>
        </a:spcBef>
        <a:buClr>
          <a:schemeClr val="accent2"/>
        </a:buClr>
        <a:buFont typeface="Wingdings" charset="2"/>
        <a:buChar char="§"/>
        <a:defRPr sz="1350" b="0" i="0" kern="1200">
          <a:solidFill>
            <a:schemeClr val="tx1">
              <a:lumMod val="85000"/>
              <a:lumOff val="15000"/>
            </a:schemeClr>
          </a:solidFill>
          <a:latin typeface="Arial" charset="0"/>
          <a:ea typeface="Arial" charset="0"/>
          <a:cs typeface="Arial" charset="0"/>
        </a:defRPr>
      </a:lvl2pPr>
      <a:lvl3pPr marL="857250" indent="-171450" algn="l" defTabSz="685800" rtl="0" eaLnBrk="1" latinLnBrk="0" hangingPunct="1">
        <a:lnSpc>
          <a:spcPct val="120000"/>
        </a:lnSpc>
        <a:spcBef>
          <a:spcPct val="20000"/>
        </a:spcBef>
        <a:buClr>
          <a:schemeClr val="accent2"/>
        </a:buClr>
        <a:buFont typeface="Wingdings" charset="2"/>
        <a:buChar char="§"/>
        <a:defRPr sz="1200" b="0" i="0" kern="1200">
          <a:solidFill>
            <a:schemeClr val="tx1">
              <a:lumMod val="85000"/>
              <a:lumOff val="15000"/>
            </a:schemeClr>
          </a:solidFill>
          <a:latin typeface="Arial" charset="0"/>
          <a:ea typeface="Arial" charset="0"/>
          <a:cs typeface="Arial" charset="0"/>
        </a:defRPr>
      </a:lvl3pPr>
      <a:lvl4pPr marL="12001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4pPr>
      <a:lvl5pPr marL="15430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7"/>
          <a:stretch>
            <a:fillRect/>
          </a:stretch>
        </p:blipFill>
        <p:spPr>
          <a:xfrm>
            <a:off x="5874818" y="4276166"/>
            <a:ext cx="3269181" cy="867334"/>
          </a:xfrm>
          <a:prstGeom prst="rect">
            <a:avLst/>
          </a:prstGeom>
        </p:spPr>
      </p:pic>
    </p:spTree>
    <p:extLst>
      <p:ext uri="{BB962C8B-B14F-4D97-AF65-F5344CB8AC3E}">
        <p14:creationId xmlns:p14="http://schemas.microsoft.com/office/powerpoint/2010/main" val="1309357202"/>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Lst>
  <p:timing>
    <p:tnLst>
      <p:par>
        <p:cTn id="1" dur="indefinite" restart="never" nodeType="tmRoot"/>
      </p:par>
    </p:tnLst>
  </p:timing>
  <p:hf hdr="0" ftr="0" dt="0"/>
  <p:txStyles>
    <p:titleStyle>
      <a:lvl1pPr algn="l" defTabSz="685800" rtl="0" eaLnBrk="1" latinLnBrk="0" hangingPunct="1">
        <a:spcBef>
          <a:spcPct val="0"/>
        </a:spcBef>
        <a:buNone/>
        <a:defRPr sz="1800" b="1" i="0" kern="1200">
          <a:solidFill>
            <a:schemeClr val="tx2"/>
          </a:solidFill>
          <a:latin typeface="Arial" charset="0"/>
          <a:ea typeface="Arial" charset="0"/>
          <a:cs typeface="Arial" charset="0"/>
        </a:defRPr>
      </a:lvl1pPr>
    </p:titleStyle>
    <p:bodyStyle>
      <a:lvl1pPr marL="257175" indent="-257175" algn="l" defTabSz="685800" rtl="0" eaLnBrk="1" latinLnBrk="0" hangingPunct="1">
        <a:lnSpc>
          <a:spcPct val="120000"/>
        </a:lnSpc>
        <a:spcBef>
          <a:spcPct val="20000"/>
        </a:spcBef>
        <a:buClr>
          <a:schemeClr val="accent2"/>
        </a:buClr>
        <a:buFont typeface="Wingdings" charset="2"/>
        <a:buChar char="§"/>
        <a:defRPr sz="1500" b="0" i="0" kern="1200">
          <a:solidFill>
            <a:schemeClr val="tx1"/>
          </a:solidFill>
          <a:latin typeface="Arial" charset="0"/>
          <a:ea typeface="Arial" charset="0"/>
          <a:cs typeface="Arial" charset="0"/>
        </a:defRPr>
      </a:lvl1pPr>
      <a:lvl2pPr marL="557213" indent="-214313" algn="l" defTabSz="685800" rtl="0" eaLnBrk="1" latinLnBrk="0" hangingPunct="1">
        <a:lnSpc>
          <a:spcPct val="120000"/>
        </a:lnSpc>
        <a:spcBef>
          <a:spcPct val="20000"/>
        </a:spcBef>
        <a:buClr>
          <a:schemeClr val="accent2"/>
        </a:buClr>
        <a:buFont typeface="Wingdings" charset="2"/>
        <a:buChar char="§"/>
        <a:defRPr sz="1350" b="0" i="0" kern="1200">
          <a:solidFill>
            <a:schemeClr val="tx1">
              <a:lumMod val="85000"/>
              <a:lumOff val="15000"/>
            </a:schemeClr>
          </a:solidFill>
          <a:latin typeface="Arial" charset="0"/>
          <a:ea typeface="Arial" charset="0"/>
          <a:cs typeface="Arial" charset="0"/>
        </a:defRPr>
      </a:lvl2pPr>
      <a:lvl3pPr marL="857250" indent="-171450" algn="l" defTabSz="685800" rtl="0" eaLnBrk="1" latinLnBrk="0" hangingPunct="1">
        <a:lnSpc>
          <a:spcPct val="120000"/>
        </a:lnSpc>
        <a:spcBef>
          <a:spcPct val="20000"/>
        </a:spcBef>
        <a:buClr>
          <a:schemeClr val="accent2"/>
        </a:buClr>
        <a:buFont typeface="Wingdings" charset="2"/>
        <a:buChar char="§"/>
        <a:defRPr sz="1200" b="0" i="0" kern="1200">
          <a:solidFill>
            <a:schemeClr val="tx1">
              <a:lumMod val="85000"/>
              <a:lumOff val="15000"/>
            </a:schemeClr>
          </a:solidFill>
          <a:latin typeface="Arial" charset="0"/>
          <a:ea typeface="Arial" charset="0"/>
          <a:cs typeface="Arial" charset="0"/>
        </a:defRPr>
      </a:lvl3pPr>
      <a:lvl4pPr marL="12001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4pPr>
      <a:lvl5pPr marL="15430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84802277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2371" name="think-cell Slide" r:id="rId11" imgW="423" imgH="424" progId="TCLayout.ActiveDocument.1">
                  <p:embed/>
                </p:oleObj>
              </mc:Choice>
              <mc:Fallback>
                <p:oleObj name="think-cell Slide" r:id="rId11" imgW="423" imgH="424" progId="TCLayout.ActiveDocument.1">
                  <p:embed/>
                  <p:pic>
                    <p:nvPicPr>
                      <p:cNvPr id="3" name="Object 2" hidden="1"/>
                      <p:cNvPicPr/>
                      <p:nvPr/>
                    </p:nvPicPr>
                    <p:blipFill>
                      <a:blip r:embed="rId12"/>
                      <a:stretch>
                        <a:fillRect/>
                      </a:stretch>
                    </p:blipFill>
                    <p:spPr>
                      <a:xfrm>
                        <a:off x="1589" y="1589"/>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13"/>
          <a:stretch>
            <a:fillRect/>
          </a:stretch>
        </p:blipFill>
        <p:spPr>
          <a:xfrm>
            <a:off x="5874818" y="4276167"/>
            <a:ext cx="3269181" cy="867334"/>
          </a:xfrm>
          <a:prstGeom prst="rect">
            <a:avLst/>
          </a:prstGeom>
        </p:spPr>
      </p:pic>
    </p:spTree>
    <p:extLst>
      <p:ext uri="{BB962C8B-B14F-4D97-AF65-F5344CB8AC3E}">
        <p14:creationId xmlns:p14="http://schemas.microsoft.com/office/powerpoint/2010/main" val="2919773521"/>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Lst>
  <p:timing>
    <p:tnLst>
      <p:par>
        <p:cTn id="1" dur="indefinite" restart="never" nodeType="tmRoot"/>
      </p:par>
    </p:tnLst>
  </p:timing>
  <p:hf hdr="0" ftr="0" dt="0"/>
  <p:txStyles>
    <p:titleStyle>
      <a:lvl1pPr algn="l" defTabSz="685783" rtl="0" eaLnBrk="1" latinLnBrk="0" hangingPunct="1">
        <a:spcBef>
          <a:spcPct val="0"/>
        </a:spcBef>
        <a:buNone/>
        <a:defRPr sz="1800" b="1" i="0" kern="1200">
          <a:solidFill>
            <a:schemeClr val="tx2"/>
          </a:solidFill>
          <a:latin typeface="Arial" charset="0"/>
          <a:ea typeface="Arial" charset="0"/>
          <a:cs typeface="Arial" charset="0"/>
        </a:defRPr>
      </a:lvl1pPr>
    </p:titleStyle>
    <p:bodyStyle>
      <a:lvl1pPr marL="257168" indent="-257168" algn="l" defTabSz="685783" rtl="0" eaLnBrk="1" latinLnBrk="0" hangingPunct="1">
        <a:lnSpc>
          <a:spcPct val="120000"/>
        </a:lnSpc>
        <a:spcBef>
          <a:spcPct val="20000"/>
        </a:spcBef>
        <a:buClr>
          <a:schemeClr val="accent2"/>
        </a:buClr>
        <a:buFont typeface="Wingdings" charset="2"/>
        <a:buChar char="§"/>
        <a:defRPr sz="1500" b="0" i="0" kern="1200">
          <a:solidFill>
            <a:schemeClr val="tx1"/>
          </a:solidFill>
          <a:latin typeface="Arial" charset="0"/>
          <a:ea typeface="Arial" charset="0"/>
          <a:cs typeface="Arial" charset="0"/>
        </a:defRPr>
      </a:lvl1pPr>
      <a:lvl2pPr marL="557199" indent="-214308" algn="l" defTabSz="685783" rtl="0" eaLnBrk="1" latinLnBrk="0" hangingPunct="1">
        <a:lnSpc>
          <a:spcPct val="120000"/>
        </a:lnSpc>
        <a:spcBef>
          <a:spcPct val="20000"/>
        </a:spcBef>
        <a:buClr>
          <a:schemeClr val="accent2"/>
        </a:buClr>
        <a:buFont typeface="Wingdings" charset="2"/>
        <a:buChar char="§"/>
        <a:defRPr sz="1350" b="0" i="0" kern="1200">
          <a:solidFill>
            <a:schemeClr val="tx1">
              <a:lumMod val="85000"/>
              <a:lumOff val="15000"/>
            </a:schemeClr>
          </a:solidFill>
          <a:latin typeface="Arial" charset="0"/>
          <a:ea typeface="Arial" charset="0"/>
          <a:cs typeface="Arial" charset="0"/>
        </a:defRPr>
      </a:lvl2pPr>
      <a:lvl3pPr marL="857228" indent="-171446" algn="l" defTabSz="685783" rtl="0" eaLnBrk="1" latinLnBrk="0" hangingPunct="1">
        <a:lnSpc>
          <a:spcPct val="120000"/>
        </a:lnSpc>
        <a:spcBef>
          <a:spcPct val="20000"/>
        </a:spcBef>
        <a:buClr>
          <a:schemeClr val="accent2"/>
        </a:buClr>
        <a:buFont typeface="Wingdings" charset="2"/>
        <a:buChar char="§"/>
        <a:defRPr sz="1200" b="0" i="0" kern="1200">
          <a:solidFill>
            <a:schemeClr val="tx1">
              <a:lumMod val="85000"/>
              <a:lumOff val="15000"/>
            </a:schemeClr>
          </a:solidFill>
          <a:latin typeface="Arial" charset="0"/>
          <a:ea typeface="Arial" charset="0"/>
          <a:cs typeface="Arial" charset="0"/>
        </a:defRPr>
      </a:lvl3pPr>
      <a:lvl4pPr marL="1200120" indent="-171446" algn="l" defTabSz="685783"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4pPr>
      <a:lvl5pPr marL="1543012" indent="-171446" algn="l" defTabSz="685783"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3CFF9C6C-E598-404E-A7F4-55A1373A50F7}" type="datetimeFigureOut">
              <a:rPr lang="en-GB" smtClean="0"/>
              <a:t>07/08/2019</a:t>
            </a:fld>
            <a:endParaRPr lang="en-GB"/>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69D9C73A-367C-4710-98B5-BACF58640B06}" type="slidenum">
              <a:rPr lang="en-GB" smtClean="0"/>
              <a:t>‹#›</a:t>
            </a:fld>
            <a:endParaRPr lang="en-GB"/>
          </a:p>
        </p:txBody>
      </p:sp>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29972374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516" name="think-cell Slide" r:id="rId17" imgW="423" imgH="424" progId="TCLayout.ActiveDocument.1">
                  <p:embed/>
                </p:oleObj>
              </mc:Choice>
              <mc:Fallback>
                <p:oleObj name="think-cell Slide" r:id="rId17" imgW="423" imgH="424" progId="TCLayout.ActiveDocument.1">
                  <p:embed/>
                  <p:pic>
                    <p:nvPicPr>
                      <p:cNvPr id="3" name="Object 2" hidden="1"/>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19"/>
          <a:stretch>
            <a:fillRect/>
          </a:stretch>
        </p:blipFill>
        <p:spPr>
          <a:xfrm>
            <a:off x="5874818" y="4276166"/>
            <a:ext cx="3269181" cy="867334"/>
          </a:xfrm>
          <a:prstGeom prst="rect">
            <a:avLst/>
          </a:prstGeom>
        </p:spPr>
      </p:pic>
    </p:spTree>
    <p:extLst>
      <p:ext uri="{BB962C8B-B14F-4D97-AF65-F5344CB8AC3E}">
        <p14:creationId xmlns:p14="http://schemas.microsoft.com/office/powerpoint/2010/main" val="586772634"/>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9" r:id="rId12"/>
    <p:sldLayoutId id="2147483871" r:id="rId13"/>
  </p:sldLayoutIdLst>
  <p:timing>
    <p:tnLst>
      <p:par>
        <p:cTn id="1" dur="indefinite" restart="never" nodeType="tmRoot"/>
      </p:par>
    </p:tnLst>
  </p:timing>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3224329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95" name="think-cell Slide" r:id="rId15" imgW="423" imgH="424" progId="TCLayout.ActiveDocument.1">
                  <p:embed/>
                </p:oleObj>
              </mc:Choice>
              <mc:Fallback>
                <p:oleObj name="think-cell Slide" r:id="rId15" imgW="423" imgH="424"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983143896"/>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extLst>
              <p:ext uri="{D42A27DB-BD31-4B8C-83A1-F6EECF244321}">
                <p14:modId xmlns:p14="http://schemas.microsoft.com/office/powerpoint/2010/main" val="3604513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02" name="think-cell Slide" r:id="rId10" imgW="423" imgH="424" progId="TCLayout.ActiveDocument.1">
                  <p:embed/>
                </p:oleObj>
              </mc:Choice>
              <mc:Fallback>
                <p:oleObj name="think-cell Slide" r:id="rId10" imgW="423" imgH="424" progId="TCLayout.ActiveDocument.1">
                  <p:embed/>
                  <p:pic>
                    <p:nvPicPr>
                      <p:cNvPr id="3" name="Object 2" hidden="1"/>
                      <p:cNvPicPr/>
                      <p:nvPr/>
                    </p:nvPicPr>
                    <p:blipFill>
                      <a:blip r:embed="rId11"/>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12"/>
          <a:stretch>
            <a:fillRect/>
          </a:stretch>
        </p:blipFill>
        <p:spPr>
          <a:xfrm>
            <a:off x="5874818" y="4276166"/>
            <a:ext cx="3269181" cy="867334"/>
          </a:xfrm>
          <a:prstGeom prst="rect">
            <a:avLst/>
          </a:prstGeom>
        </p:spPr>
      </p:pic>
    </p:spTree>
    <p:extLst>
      <p:ext uri="{BB962C8B-B14F-4D97-AF65-F5344CB8AC3E}">
        <p14:creationId xmlns:p14="http://schemas.microsoft.com/office/powerpoint/2010/main" val="2152134019"/>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Lst>
  <p:timing>
    <p:tnLst>
      <p:par>
        <p:cTn id="1" dur="indefinite" restart="never" nodeType="tmRoot"/>
      </p:par>
    </p:tnLst>
  </p:timing>
  <p:hf hdr="0" ftr="0" dt="0"/>
  <p:txStyles>
    <p:titleStyle>
      <a:lvl1pPr algn="l" defTabSz="685800" rtl="0" eaLnBrk="1" latinLnBrk="0" hangingPunct="1">
        <a:spcBef>
          <a:spcPct val="0"/>
        </a:spcBef>
        <a:buNone/>
        <a:defRPr sz="1800" b="1" i="0" kern="1200">
          <a:solidFill>
            <a:schemeClr val="tx2"/>
          </a:solidFill>
          <a:latin typeface="Arial" charset="0"/>
          <a:ea typeface="Arial" charset="0"/>
          <a:cs typeface="Arial" charset="0"/>
        </a:defRPr>
      </a:lvl1pPr>
    </p:titleStyle>
    <p:bodyStyle>
      <a:lvl1pPr marL="257175" indent="-257175" algn="l" defTabSz="685800" rtl="0" eaLnBrk="1" latinLnBrk="0" hangingPunct="1">
        <a:lnSpc>
          <a:spcPct val="120000"/>
        </a:lnSpc>
        <a:spcBef>
          <a:spcPct val="20000"/>
        </a:spcBef>
        <a:buClr>
          <a:schemeClr val="accent2"/>
        </a:buClr>
        <a:buFont typeface="Wingdings" charset="2"/>
        <a:buChar char="§"/>
        <a:defRPr sz="1500" b="0" i="0" kern="1200">
          <a:solidFill>
            <a:schemeClr val="tx1"/>
          </a:solidFill>
          <a:latin typeface="Arial" charset="0"/>
          <a:ea typeface="Arial" charset="0"/>
          <a:cs typeface="Arial" charset="0"/>
        </a:defRPr>
      </a:lvl1pPr>
      <a:lvl2pPr marL="557213" indent="-214313" algn="l" defTabSz="685800" rtl="0" eaLnBrk="1" latinLnBrk="0" hangingPunct="1">
        <a:lnSpc>
          <a:spcPct val="120000"/>
        </a:lnSpc>
        <a:spcBef>
          <a:spcPct val="20000"/>
        </a:spcBef>
        <a:buClr>
          <a:schemeClr val="accent2"/>
        </a:buClr>
        <a:buFont typeface="Wingdings" charset="2"/>
        <a:buChar char="§"/>
        <a:defRPr sz="1350" b="0" i="0" kern="1200">
          <a:solidFill>
            <a:schemeClr val="tx1">
              <a:lumMod val="85000"/>
              <a:lumOff val="15000"/>
            </a:schemeClr>
          </a:solidFill>
          <a:latin typeface="Arial" charset="0"/>
          <a:ea typeface="Arial" charset="0"/>
          <a:cs typeface="Arial" charset="0"/>
        </a:defRPr>
      </a:lvl2pPr>
      <a:lvl3pPr marL="857250" indent="-171450" algn="l" defTabSz="685800" rtl="0" eaLnBrk="1" latinLnBrk="0" hangingPunct="1">
        <a:lnSpc>
          <a:spcPct val="120000"/>
        </a:lnSpc>
        <a:spcBef>
          <a:spcPct val="20000"/>
        </a:spcBef>
        <a:buClr>
          <a:schemeClr val="accent2"/>
        </a:buClr>
        <a:buFont typeface="Wingdings" charset="2"/>
        <a:buChar char="§"/>
        <a:defRPr sz="1200" b="0" i="0" kern="1200">
          <a:solidFill>
            <a:schemeClr val="tx1">
              <a:lumMod val="85000"/>
              <a:lumOff val="15000"/>
            </a:schemeClr>
          </a:solidFill>
          <a:latin typeface="Arial" charset="0"/>
          <a:ea typeface="Arial" charset="0"/>
          <a:cs typeface="Arial" charset="0"/>
        </a:defRPr>
      </a:lvl3pPr>
      <a:lvl4pPr marL="12001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4pPr>
      <a:lvl5pPr marL="15430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extLst>
              <p:ext uri="{D42A27DB-BD31-4B8C-83A1-F6EECF244321}">
                <p14:modId xmlns:p14="http://schemas.microsoft.com/office/powerpoint/2010/main" val="39298311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674" name="think-cell Slide" r:id="rId10" imgW="423" imgH="424" progId="TCLayout.ActiveDocument.1">
                  <p:embed/>
                </p:oleObj>
              </mc:Choice>
              <mc:Fallback>
                <p:oleObj name="think-cell Slide" r:id="rId10" imgW="423" imgH="424" progId="TCLayout.ActiveDocument.1">
                  <p:embed/>
                  <p:pic>
                    <p:nvPicPr>
                      <p:cNvPr id="3" name="Object 2" hidden="1"/>
                      <p:cNvPicPr/>
                      <p:nvPr/>
                    </p:nvPicPr>
                    <p:blipFill>
                      <a:blip r:embed="rId11"/>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12"/>
          <a:stretch>
            <a:fillRect/>
          </a:stretch>
        </p:blipFill>
        <p:spPr>
          <a:xfrm>
            <a:off x="5874818" y="4276166"/>
            <a:ext cx="3269181" cy="867334"/>
          </a:xfrm>
          <a:prstGeom prst="rect">
            <a:avLst/>
          </a:prstGeom>
        </p:spPr>
      </p:pic>
    </p:spTree>
    <p:extLst>
      <p:ext uri="{BB962C8B-B14F-4D97-AF65-F5344CB8AC3E}">
        <p14:creationId xmlns:p14="http://schemas.microsoft.com/office/powerpoint/2010/main" val="3227620312"/>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Lst>
  <p:timing>
    <p:tnLst>
      <p:par>
        <p:cTn id="1" dur="indefinite" restart="never" nodeType="tmRoot"/>
      </p:par>
    </p:tnLst>
  </p:timing>
  <p:hf hdr="0" ftr="0" dt="0"/>
  <p:txStyles>
    <p:titleStyle>
      <a:lvl1pPr algn="l" defTabSz="685800" rtl="0" eaLnBrk="1" latinLnBrk="0" hangingPunct="1">
        <a:spcBef>
          <a:spcPct val="0"/>
        </a:spcBef>
        <a:buNone/>
        <a:defRPr sz="1800" b="1" i="0" kern="1200">
          <a:solidFill>
            <a:schemeClr val="tx2"/>
          </a:solidFill>
          <a:latin typeface="Arial" charset="0"/>
          <a:ea typeface="Arial" charset="0"/>
          <a:cs typeface="Arial" charset="0"/>
        </a:defRPr>
      </a:lvl1pPr>
    </p:titleStyle>
    <p:bodyStyle>
      <a:lvl1pPr marL="257175" indent="-257175" algn="l" defTabSz="685800" rtl="0" eaLnBrk="1" latinLnBrk="0" hangingPunct="1">
        <a:lnSpc>
          <a:spcPct val="120000"/>
        </a:lnSpc>
        <a:spcBef>
          <a:spcPct val="20000"/>
        </a:spcBef>
        <a:buClr>
          <a:schemeClr val="accent2"/>
        </a:buClr>
        <a:buFont typeface="Wingdings" charset="2"/>
        <a:buChar char="§"/>
        <a:defRPr sz="1500" b="0" i="0" kern="1200">
          <a:solidFill>
            <a:schemeClr val="tx1"/>
          </a:solidFill>
          <a:latin typeface="Arial" charset="0"/>
          <a:ea typeface="Arial" charset="0"/>
          <a:cs typeface="Arial" charset="0"/>
        </a:defRPr>
      </a:lvl1pPr>
      <a:lvl2pPr marL="557213" indent="-214313" algn="l" defTabSz="685800" rtl="0" eaLnBrk="1" latinLnBrk="0" hangingPunct="1">
        <a:lnSpc>
          <a:spcPct val="120000"/>
        </a:lnSpc>
        <a:spcBef>
          <a:spcPct val="20000"/>
        </a:spcBef>
        <a:buClr>
          <a:schemeClr val="accent2"/>
        </a:buClr>
        <a:buFont typeface="Wingdings" charset="2"/>
        <a:buChar char="§"/>
        <a:defRPr sz="1350" b="0" i="0" kern="1200">
          <a:solidFill>
            <a:schemeClr val="tx1">
              <a:lumMod val="85000"/>
              <a:lumOff val="15000"/>
            </a:schemeClr>
          </a:solidFill>
          <a:latin typeface="Arial" charset="0"/>
          <a:ea typeface="Arial" charset="0"/>
          <a:cs typeface="Arial" charset="0"/>
        </a:defRPr>
      </a:lvl2pPr>
      <a:lvl3pPr marL="857250" indent="-171450" algn="l" defTabSz="685800" rtl="0" eaLnBrk="1" latinLnBrk="0" hangingPunct="1">
        <a:lnSpc>
          <a:spcPct val="120000"/>
        </a:lnSpc>
        <a:spcBef>
          <a:spcPct val="20000"/>
        </a:spcBef>
        <a:buClr>
          <a:schemeClr val="accent2"/>
        </a:buClr>
        <a:buFont typeface="Wingdings" charset="2"/>
        <a:buChar char="§"/>
        <a:defRPr sz="1200" b="0" i="0" kern="1200">
          <a:solidFill>
            <a:schemeClr val="tx1">
              <a:lumMod val="85000"/>
              <a:lumOff val="15000"/>
            </a:schemeClr>
          </a:solidFill>
          <a:latin typeface="Arial" charset="0"/>
          <a:ea typeface="Arial" charset="0"/>
          <a:cs typeface="Arial" charset="0"/>
        </a:defRPr>
      </a:lvl3pPr>
      <a:lvl4pPr marL="12001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4pPr>
      <a:lvl5pPr marL="15430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FF8E4"/>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6"/>
          <a:stretch>
            <a:fillRect/>
          </a:stretch>
        </p:blipFill>
        <p:spPr>
          <a:xfrm>
            <a:off x="5874818" y="4276166"/>
            <a:ext cx="3269181" cy="867334"/>
          </a:xfrm>
          <a:prstGeom prst="rect">
            <a:avLst/>
          </a:prstGeom>
        </p:spPr>
      </p:pic>
      <p:pic>
        <p:nvPicPr>
          <p:cNvPr id="3" name="Picture 2"/>
          <p:cNvPicPr>
            <a:picLocks noChangeAspect="1"/>
          </p:cNvPicPr>
          <p:nvPr userDrawn="1"/>
        </p:nvPicPr>
        <p:blipFill>
          <a:blip r:embed="rId7"/>
          <a:stretch>
            <a:fillRect/>
          </a:stretch>
        </p:blipFill>
        <p:spPr>
          <a:xfrm>
            <a:off x="321962" y="314493"/>
            <a:ext cx="454417" cy="454417"/>
          </a:xfrm>
          <a:prstGeom prst="rect">
            <a:avLst/>
          </a:prstGeom>
        </p:spPr>
      </p:pic>
    </p:spTree>
    <p:extLst>
      <p:ext uri="{BB962C8B-B14F-4D97-AF65-F5344CB8AC3E}">
        <p14:creationId xmlns:p14="http://schemas.microsoft.com/office/powerpoint/2010/main" val="234492455"/>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Lst>
  <p:timing>
    <p:tnLst>
      <p:par>
        <p:cTn id="1" dur="indefinite" restart="never" nodeType="tmRoot"/>
      </p:par>
    </p:tnLst>
  </p:timing>
  <p:hf hdr="0" ftr="0" dt="0"/>
  <p:txStyles>
    <p:titleStyle>
      <a:lvl1pPr algn="l" defTabSz="685800" rtl="0" eaLnBrk="1" latinLnBrk="0" hangingPunct="1">
        <a:spcBef>
          <a:spcPct val="0"/>
        </a:spcBef>
        <a:buNone/>
        <a:defRPr sz="1800" b="1" i="0" kern="1200">
          <a:solidFill>
            <a:schemeClr val="tx2"/>
          </a:solidFill>
          <a:latin typeface="Arial" charset="0"/>
          <a:ea typeface="Arial" charset="0"/>
          <a:cs typeface="Arial" charset="0"/>
        </a:defRPr>
      </a:lvl1pPr>
    </p:titleStyle>
    <p:bodyStyle>
      <a:lvl1pPr marL="257175" indent="-257175" algn="l" defTabSz="685800" rtl="0" eaLnBrk="1" latinLnBrk="0" hangingPunct="1">
        <a:lnSpc>
          <a:spcPct val="120000"/>
        </a:lnSpc>
        <a:spcBef>
          <a:spcPct val="20000"/>
        </a:spcBef>
        <a:buClr>
          <a:schemeClr val="accent2"/>
        </a:buClr>
        <a:buFont typeface="Wingdings" charset="2"/>
        <a:buChar char="§"/>
        <a:defRPr sz="1500" b="0" i="0" kern="1200">
          <a:solidFill>
            <a:schemeClr val="tx1"/>
          </a:solidFill>
          <a:latin typeface="Arial" charset="0"/>
          <a:ea typeface="Arial" charset="0"/>
          <a:cs typeface="Arial" charset="0"/>
        </a:defRPr>
      </a:lvl1pPr>
      <a:lvl2pPr marL="557213" indent="-214313" algn="l" defTabSz="685800" rtl="0" eaLnBrk="1" latinLnBrk="0" hangingPunct="1">
        <a:lnSpc>
          <a:spcPct val="120000"/>
        </a:lnSpc>
        <a:spcBef>
          <a:spcPct val="20000"/>
        </a:spcBef>
        <a:buClr>
          <a:schemeClr val="accent2"/>
        </a:buClr>
        <a:buFont typeface="Wingdings" charset="2"/>
        <a:buChar char="§"/>
        <a:defRPr sz="1350" b="0" i="0" kern="1200">
          <a:solidFill>
            <a:schemeClr val="tx1">
              <a:lumMod val="85000"/>
              <a:lumOff val="15000"/>
            </a:schemeClr>
          </a:solidFill>
          <a:latin typeface="Arial" charset="0"/>
          <a:ea typeface="Arial" charset="0"/>
          <a:cs typeface="Arial" charset="0"/>
        </a:defRPr>
      </a:lvl2pPr>
      <a:lvl3pPr marL="857250" indent="-171450" algn="l" defTabSz="685800" rtl="0" eaLnBrk="1" latinLnBrk="0" hangingPunct="1">
        <a:lnSpc>
          <a:spcPct val="120000"/>
        </a:lnSpc>
        <a:spcBef>
          <a:spcPct val="20000"/>
        </a:spcBef>
        <a:buClr>
          <a:schemeClr val="accent2"/>
        </a:buClr>
        <a:buFont typeface="Wingdings" charset="2"/>
        <a:buChar char="§"/>
        <a:defRPr sz="1200" b="0" i="0" kern="1200">
          <a:solidFill>
            <a:schemeClr val="tx1">
              <a:lumMod val="85000"/>
              <a:lumOff val="15000"/>
            </a:schemeClr>
          </a:solidFill>
          <a:latin typeface="Arial" charset="0"/>
          <a:ea typeface="Arial" charset="0"/>
          <a:cs typeface="Arial" charset="0"/>
        </a:defRPr>
      </a:lvl3pPr>
      <a:lvl4pPr marL="12001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4pPr>
      <a:lvl5pPr marL="15430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150377806"/>
      </p:ext>
    </p:extLst>
  </p:cSld>
  <p:clrMap bg1="lt1" tx1="dk1" bg2="lt2" tx2="dk2" accent1="accent1" accent2="accent2" accent3="accent3" accent4="accent4" accent5="accent5" accent6="accent6" hlink="hlink" folHlink="folHlink"/>
  <p:sldLayoutIdLst>
    <p:sldLayoutId id="2147483724" r:id="rId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13043603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79" name="think-cell Slide" r:id="rId11" imgW="423" imgH="424" progId="TCLayout.ActiveDocument.1">
                  <p:embed/>
                </p:oleObj>
              </mc:Choice>
              <mc:Fallback>
                <p:oleObj name="think-cell Slide" r:id="rId11" imgW="423" imgH="424"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userDrawn="1"/>
        </p:nvPicPr>
        <p:blipFill>
          <a:blip r:embed="rId13"/>
          <a:stretch>
            <a:fillRect/>
          </a:stretch>
        </p:blipFill>
        <p:spPr>
          <a:xfrm>
            <a:off x="5874818" y="4276166"/>
            <a:ext cx="3269181" cy="867334"/>
          </a:xfrm>
          <a:prstGeom prst="rect">
            <a:avLst/>
          </a:prstGeom>
        </p:spPr>
      </p:pic>
    </p:spTree>
    <p:extLst>
      <p:ext uri="{BB962C8B-B14F-4D97-AF65-F5344CB8AC3E}">
        <p14:creationId xmlns:p14="http://schemas.microsoft.com/office/powerpoint/2010/main" val="1127129662"/>
      </p:ext>
    </p:extLst>
  </p:cSld>
  <p:clrMap bg1="lt1" tx1="dk1" bg2="lt2" tx2="dk2" accent1="accent1" accent2="accent2" accent3="accent3" accent4="accent4" accent5="accent5" accent6="accent6" hlink="hlink" folHlink="folHlink"/>
  <p:sldLayoutIdLst>
    <p:sldLayoutId id="2147483748" r:id="rId1"/>
    <p:sldLayoutId id="2147483750" r:id="rId2"/>
    <p:sldLayoutId id="2147483752" r:id="rId3"/>
    <p:sldLayoutId id="2147483751" r:id="rId4"/>
    <p:sldLayoutId id="2147483758" r:id="rId5"/>
    <p:sldLayoutId id="2147483787" r:id="rId6"/>
    <p:sldLayoutId id="2147483801" r:id="rId7"/>
  </p:sldLayoutIdLst>
  <p:timing>
    <p:tnLst>
      <p:par>
        <p:cTn id="1" dur="indefinite" restart="never" nodeType="tmRoot"/>
      </p:par>
    </p:tnLst>
  </p:timing>
  <p:hf hdr="0" ftr="0" dt="0"/>
  <p:txStyles>
    <p:titleStyle>
      <a:lvl1pPr algn="l" defTabSz="685800" rtl="0" eaLnBrk="1" latinLnBrk="0" hangingPunct="1">
        <a:spcBef>
          <a:spcPct val="0"/>
        </a:spcBef>
        <a:buNone/>
        <a:defRPr sz="1800" b="1" i="0" kern="1200">
          <a:solidFill>
            <a:schemeClr val="tx2"/>
          </a:solidFill>
          <a:latin typeface="Arial" charset="0"/>
          <a:ea typeface="Arial" charset="0"/>
          <a:cs typeface="Arial" charset="0"/>
        </a:defRPr>
      </a:lvl1pPr>
    </p:titleStyle>
    <p:bodyStyle>
      <a:lvl1pPr marL="257175" indent="-257175" algn="l" defTabSz="685800" rtl="0" eaLnBrk="1" latinLnBrk="0" hangingPunct="1">
        <a:lnSpc>
          <a:spcPct val="120000"/>
        </a:lnSpc>
        <a:spcBef>
          <a:spcPct val="20000"/>
        </a:spcBef>
        <a:buClr>
          <a:schemeClr val="accent2"/>
        </a:buClr>
        <a:buFont typeface="Wingdings" charset="2"/>
        <a:buChar char="§"/>
        <a:defRPr sz="1500" b="0" i="0" kern="1200">
          <a:solidFill>
            <a:schemeClr val="tx1"/>
          </a:solidFill>
          <a:latin typeface="Arial" charset="0"/>
          <a:ea typeface="Arial" charset="0"/>
          <a:cs typeface="Arial" charset="0"/>
        </a:defRPr>
      </a:lvl1pPr>
      <a:lvl2pPr marL="557213" indent="-214313" algn="l" defTabSz="685800" rtl="0" eaLnBrk="1" latinLnBrk="0" hangingPunct="1">
        <a:lnSpc>
          <a:spcPct val="120000"/>
        </a:lnSpc>
        <a:spcBef>
          <a:spcPct val="20000"/>
        </a:spcBef>
        <a:buClr>
          <a:schemeClr val="accent2"/>
        </a:buClr>
        <a:buFont typeface="Wingdings" charset="2"/>
        <a:buChar char="§"/>
        <a:defRPr sz="1350" b="0" i="0" kern="1200">
          <a:solidFill>
            <a:schemeClr val="tx1">
              <a:lumMod val="85000"/>
              <a:lumOff val="15000"/>
            </a:schemeClr>
          </a:solidFill>
          <a:latin typeface="Arial" charset="0"/>
          <a:ea typeface="Arial" charset="0"/>
          <a:cs typeface="Arial" charset="0"/>
        </a:defRPr>
      </a:lvl2pPr>
      <a:lvl3pPr marL="857250" indent="-171450" algn="l" defTabSz="685800" rtl="0" eaLnBrk="1" latinLnBrk="0" hangingPunct="1">
        <a:lnSpc>
          <a:spcPct val="120000"/>
        </a:lnSpc>
        <a:spcBef>
          <a:spcPct val="20000"/>
        </a:spcBef>
        <a:buClr>
          <a:schemeClr val="accent2"/>
        </a:buClr>
        <a:buFont typeface="Wingdings" charset="2"/>
        <a:buChar char="§"/>
        <a:defRPr sz="1200" b="0" i="0" kern="1200">
          <a:solidFill>
            <a:schemeClr val="tx1">
              <a:lumMod val="85000"/>
              <a:lumOff val="15000"/>
            </a:schemeClr>
          </a:solidFill>
          <a:latin typeface="Arial" charset="0"/>
          <a:ea typeface="Arial" charset="0"/>
          <a:cs typeface="Arial" charset="0"/>
        </a:defRPr>
      </a:lvl3pPr>
      <a:lvl4pPr marL="12001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4pPr>
      <a:lvl5pPr marL="15430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8E4"/>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6"/>
          <a:stretch>
            <a:fillRect/>
          </a:stretch>
        </p:blipFill>
        <p:spPr>
          <a:xfrm>
            <a:off x="5874818" y="4276166"/>
            <a:ext cx="3269181" cy="867334"/>
          </a:xfrm>
          <a:prstGeom prst="rect">
            <a:avLst/>
          </a:prstGeom>
        </p:spPr>
      </p:pic>
    </p:spTree>
    <p:extLst>
      <p:ext uri="{BB962C8B-B14F-4D97-AF65-F5344CB8AC3E}">
        <p14:creationId xmlns:p14="http://schemas.microsoft.com/office/powerpoint/2010/main" val="197191507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Lst>
  <p:timing>
    <p:tnLst>
      <p:par>
        <p:cTn id="1" dur="indefinite" restart="never" nodeType="tmRoot"/>
      </p:par>
    </p:tnLst>
  </p:timing>
  <p:hf hdr="0" ftr="0" dt="0"/>
  <p:txStyles>
    <p:titleStyle>
      <a:lvl1pPr algn="l" defTabSz="685800" rtl="0" eaLnBrk="1" latinLnBrk="0" hangingPunct="1">
        <a:spcBef>
          <a:spcPct val="0"/>
        </a:spcBef>
        <a:buNone/>
        <a:defRPr sz="1800" b="1" i="0" kern="1200">
          <a:solidFill>
            <a:schemeClr val="tx2"/>
          </a:solidFill>
          <a:latin typeface="Arial" charset="0"/>
          <a:ea typeface="Arial" charset="0"/>
          <a:cs typeface="Arial" charset="0"/>
        </a:defRPr>
      </a:lvl1pPr>
    </p:titleStyle>
    <p:bodyStyle>
      <a:lvl1pPr marL="257175" indent="-257175" algn="l" defTabSz="685800" rtl="0" eaLnBrk="1" latinLnBrk="0" hangingPunct="1">
        <a:lnSpc>
          <a:spcPct val="120000"/>
        </a:lnSpc>
        <a:spcBef>
          <a:spcPct val="20000"/>
        </a:spcBef>
        <a:buClr>
          <a:schemeClr val="accent2"/>
        </a:buClr>
        <a:buFont typeface="Wingdings" charset="2"/>
        <a:buChar char="§"/>
        <a:defRPr sz="1500" b="0" i="0" kern="1200">
          <a:solidFill>
            <a:schemeClr val="tx1"/>
          </a:solidFill>
          <a:latin typeface="Arial" charset="0"/>
          <a:ea typeface="Arial" charset="0"/>
          <a:cs typeface="Arial" charset="0"/>
        </a:defRPr>
      </a:lvl1pPr>
      <a:lvl2pPr marL="557213" indent="-214313" algn="l" defTabSz="685800" rtl="0" eaLnBrk="1" latinLnBrk="0" hangingPunct="1">
        <a:lnSpc>
          <a:spcPct val="120000"/>
        </a:lnSpc>
        <a:spcBef>
          <a:spcPct val="20000"/>
        </a:spcBef>
        <a:buClr>
          <a:schemeClr val="accent2"/>
        </a:buClr>
        <a:buFont typeface="Wingdings" charset="2"/>
        <a:buChar char="§"/>
        <a:defRPr sz="1350" b="0" i="0" kern="1200">
          <a:solidFill>
            <a:schemeClr val="tx1">
              <a:lumMod val="85000"/>
              <a:lumOff val="15000"/>
            </a:schemeClr>
          </a:solidFill>
          <a:latin typeface="Arial" charset="0"/>
          <a:ea typeface="Arial" charset="0"/>
          <a:cs typeface="Arial" charset="0"/>
        </a:defRPr>
      </a:lvl2pPr>
      <a:lvl3pPr marL="857250" indent="-171450" algn="l" defTabSz="685800" rtl="0" eaLnBrk="1" latinLnBrk="0" hangingPunct="1">
        <a:lnSpc>
          <a:spcPct val="120000"/>
        </a:lnSpc>
        <a:spcBef>
          <a:spcPct val="20000"/>
        </a:spcBef>
        <a:buClr>
          <a:schemeClr val="accent2"/>
        </a:buClr>
        <a:buFont typeface="Wingdings" charset="2"/>
        <a:buChar char="§"/>
        <a:defRPr sz="1200" b="0" i="0" kern="1200">
          <a:solidFill>
            <a:schemeClr val="tx1">
              <a:lumMod val="85000"/>
              <a:lumOff val="15000"/>
            </a:schemeClr>
          </a:solidFill>
          <a:latin typeface="Arial" charset="0"/>
          <a:ea typeface="Arial" charset="0"/>
          <a:cs typeface="Arial" charset="0"/>
        </a:defRPr>
      </a:lvl3pPr>
      <a:lvl4pPr marL="12001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4pPr>
      <a:lvl5pPr marL="15430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420688" y="4826858"/>
            <a:ext cx="2133600" cy="273844"/>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E52D2AFC-71C4-4511-B128-4ECEE52D3027}" type="slidenum">
              <a:rPr lang="en-ZA" smtClean="0"/>
              <a:pPr/>
              <a:t>‹#›</a:t>
            </a:fld>
            <a:endParaRPr lang="en-ZA" dirty="0"/>
          </a:p>
        </p:txBody>
      </p:sp>
      <p:grpSp>
        <p:nvGrpSpPr>
          <p:cNvPr id="6" name="Group 5"/>
          <p:cNvGrpSpPr/>
          <p:nvPr userDrawn="1"/>
        </p:nvGrpSpPr>
        <p:grpSpPr>
          <a:xfrm>
            <a:off x="428625" y="4711700"/>
            <a:ext cx="8272464" cy="71438"/>
            <a:chOff x="428625" y="4711700"/>
            <a:chExt cx="8272464" cy="71438"/>
          </a:xfrm>
        </p:grpSpPr>
        <p:sp>
          <p:nvSpPr>
            <p:cNvPr id="3" name="Rectangle 2"/>
            <p:cNvSpPr/>
            <p:nvPr/>
          </p:nvSpPr>
          <p:spPr>
            <a:xfrm>
              <a:off x="428625" y="4711700"/>
              <a:ext cx="2757488"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 name="Rectangle 3"/>
            <p:cNvSpPr/>
            <p:nvPr/>
          </p:nvSpPr>
          <p:spPr>
            <a:xfrm>
              <a:off x="3186113" y="4711700"/>
              <a:ext cx="2757488"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 name="Rectangle 4"/>
            <p:cNvSpPr/>
            <p:nvPr/>
          </p:nvSpPr>
          <p:spPr>
            <a:xfrm>
              <a:off x="5943601" y="4711700"/>
              <a:ext cx="2757488"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pic>
        <p:nvPicPr>
          <p:cNvPr id="2" name="Picture 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95289" y="411164"/>
            <a:ext cx="431800" cy="431800"/>
          </a:xfrm>
          <a:prstGeom prst="rect">
            <a:avLst/>
          </a:prstGeom>
        </p:spPr>
      </p:pic>
      <p:sp>
        <p:nvSpPr>
          <p:cNvPr id="8" name="Slide Number Placeholder 5"/>
          <p:cNvSpPr txBox="1">
            <a:spLocks/>
          </p:cNvSpPr>
          <p:nvPr userDrawn="1"/>
        </p:nvSpPr>
        <p:spPr>
          <a:xfrm>
            <a:off x="6614864" y="4827600"/>
            <a:ext cx="2133600" cy="273844"/>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ZA" dirty="0"/>
              <a:t>CONFIDENTIAL</a:t>
            </a:r>
          </a:p>
        </p:txBody>
      </p:sp>
    </p:spTree>
    <p:extLst>
      <p:ext uri="{BB962C8B-B14F-4D97-AF65-F5344CB8AC3E}">
        <p14:creationId xmlns:p14="http://schemas.microsoft.com/office/powerpoint/2010/main" val="297543413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Lst>
  <p:hf sldNum="0" hdr="0" ftr="0" dt="0"/>
  <p:txStyles>
    <p:titleStyle>
      <a:lvl1pPr algn="l" defTabSz="914400" rtl="0" eaLnBrk="1" latinLnBrk="0" hangingPunct="1">
        <a:spcBef>
          <a:spcPct val="0"/>
        </a:spcBef>
        <a:buNone/>
        <a:defRPr sz="2000" b="1"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3566769857"/>
              </p:ext>
            </p:extLst>
          </p:nvPr>
        </p:nvGraphicFramePr>
        <p:xfrm>
          <a:off x="893" y="893"/>
          <a:ext cx="893" cy="893"/>
        </p:xfrm>
        <a:graphic>
          <a:graphicData uri="http://schemas.openxmlformats.org/presentationml/2006/ole">
            <mc:AlternateContent xmlns:mc="http://schemas.openxmlformats.org/markup-compatibility/2006">
              <mc:Choice xmlns:v="urn:schemas-microsoft-com:vml" Requires="v">
                <p:oleObj spid="_x0000_s33041" name="think-cell Slide" r:id="rId15" imgW="518" imgH="520" progId="TCLayout.ActiveDocument.1">
                  <p:embed/>
                </p:oleObj>
              </mc:Choice>
              <mc:Fallback>
                <p:oleObj name="think-cell Slide" r:id="rId15" imgW="518" imgH="520" progId="TCLayout.ActiveDocument.1">
                  <p:embed/>
                  <p:pic>
                    <p:nvPicPr>
                      <p:cNvPr id="2" name="Object 1" hidden="1"/>
                      <p:cNvPicPr/>
                      <p:nvPr/>
                    </p:nvPicPr>
                    <p:blipFill>
                      <a:blip r:embed="rId16"/>
                      <a:stretch>
                        <a:fillRect/>
                      </a:stretch>
                    </p:blipFill>
                    <p:spPr>
                      <a:xfrm>
                        <a:off x="893" y="893"/>
                        <a:ext cx="893" cy="893"/>
                      </a:xfrm>
                      <a:prstGeom prst="rect">
                        <a:avLst/>
                      </a:prstGeom>
                    </p:spPr>
                  </p:pic>
                </p:oleObj>
              </mc:Fallback>
            </mc:AlternateContent>
          </a:graphicData>
        </a:graphic>
      </p:graphicFrame>
      <p:grpSp>
        <p:nvGrpSpPr>
          <p:cNvPr id="6" name="Group 5"/>
          <p:cNvGrpSpPr/>
          <p:nvPr userDrawn="1"/>
        </p:nvGrpSpPr>
        <p:grpSpPr>
          <a:xfrm>
            <a:off x="428625" y="4587974"/>
            <a:ext cx="8272464" cy="71438"/>
            <a:chOff x="428625" y="4711700"/>
            <a:chExt cx="8272464" cy="71438"/>
          </a:xfrm>
        </p:grpSpPr>
        <p:sp>
          <p:nvSpPr>
            <p:cNvPr id="3" name="Rectangle 2"/>
            <p:cNvSpPr/>
            <p:nvPr/>
          </p:nvSpPr>
          <p:spPr>
            <a:xfrm>
              <a:off x="428625" y="4711700"/>
              <a:ext cx="2757488"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914411" hangingPunct="1"/>
              <a:endParaRPr lang="en-ZA" sz="1800" kern="1200" dirty="0">
                <a:solidFill>
                  <a:srgbClr val="FFFFFF"/>
                </a:solidFill>
              </a:endParaRPr>
            </a:p>
          </p:txBody>
        </p:sp>
        <p:sp>
          <p:nvSpPr>
            <p:cNvPr id="4" name="Rectangle 3"/>
            <p:cNvSpPr/>
            <p:nvPr/>
          </p:nvSpPr>
          <p:spPr>
            <a:xfrm>
              <a:off x="3186113" y="4711700"/>
              <a:ext cx="2757488"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914411" hangingPunct="1"/>
              <a:endParaRPr lang="en-ZA" sz="1800" kern="1200" dirty="0">
                <a:solidFill>
                  <a:srgbClr val="FFFFFF"/>
                </a:solidFill>
              </a:endParaRPr>
            </a:p>
          </p:txBody>
        </p:sp>
        <p:sp>
          <p:nvSpPr>
            <p:cNvPr id="5" name="Rectangle 4"/>
            <p:cNvSpPr/>
            <p:nvPr/>
          </p:nvSpPr>
          <p:spPr>
            <a:xfrm>
              <a:off x="5943601" y="4711700"/>
              <a:ext cx="2757488"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914411" hangingPunct="1"/>
              <a:endParaRPr lang="en-ZA" sz="1800" kern="1200" dirty="0">
                <a:solidFill>
                  <a:srgbClr val="FFFFFF"/>
                </a:solidFill>
              </a:endParaRPr>
            </a:p>
          </p:txBody>
        </p:sp>
      </p:grpSp>
      <p:grpSp>
        <p:nvGrpSpPr>
          <p:cNvPr id="11" name="Group 53"/>
          <p:cNvGrpSpPr/>
          <p:nvPr userDrawn="1"/>
        </p:nvGrpSpPr>
        <p:grpSpPr>
          <a:xfrm>
            <a:off x="319087" y="319088"/>
            <a:ext cx="596254" cy="596247"/>
            <a:chOff x="0" y="0"/>
            <a:chExt cx="1060006" cy="1059993"/>
          </a:xfrm>
        </p:grpSpPr>
        <p:sp>
          <p:nvSpPr>
            <p:cNvPr id="13" name="Shape 39"/>
            <p:cNvSpPr/>
            <p:nvPr/>
          </p:nvSpPr>
          <p:spPr>
            <a:xfrm>
              <a:off x="0" y="0"/>
              <a:ext cx="1060006" cy="105999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cubicBezTo>
                    <a:pt x="0" y="0"/>
                    <a:pt x="0" y="21600"/>
                    <a:pt x="0" y="21600"/>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14" name="Shape 40"/>
            <p:cNvSpPr/>
            <p:nvPr/>
          </p:nvSpPr>
          <p:spPr>
            <a:xfrm>
              <a:off x="12700" y="12700"/>
              <a:ext cx="1033501" cy="10335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cubicBezTo>
                    <a:pt x="0" y="0"/>
                    <a:pt x="0" y="21600"/>
                    <a:pt x="0" y="21600"/>
                  </a:cubicBezTo>
                  <a:close/>
                </a:path>
              </a:pathLst>
            </a:custGeom>
            <a:solidFill>
              <a:srgbClr val="000000"/>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15" name="Shape 41"/>
            <p:cNvSpPr/>
            <p:nvPr/>
          </p:nvSpPr>
          <p:spPr>
            <a:xfrm>
              <a:off x="101600" y="647700"/>
              <a:ext cx="192990" cy="136919"/>
            </a:xfrm>
            <a:custGeom>
              <a:avLst/>
              <a:gdLst/>
              <a:ahLst/>
              <a:cxnLst>
                <a:cxn ang="0">
                  <a:pos x="wd2" y="hd2"/>
                </a:cxn>
                <a:cxn ang="5400000">
                  <a:pos x="wd2" y="hd2"/>
                </a:cxn>
                <a:cxn ang="10800000">
                  <a:pos x="wd2" y="hd2"/>
                </a:cxn>
                <a:cxn ang="16200000">
                  <a:pos x="wd2" y="hd2"/>
                </a:cxn>
              </a:cxnLst>
              <a:rect l="0" t="0" r="r" b="b"/>
              <a:pathLst>
                <a:path w="21600" h="21600" extrusionOk="0">
                  <a:moveTo>
                    <a:pt x="21600" y="9679"/>
                  </a:moveTo>
                  <a:lnTo>
                    <a:pt x="21600" y="12041"/>
                  </a:lnTo>
                  <a:cubicBezTo>
                    <a:pt x="21600" y="14932"/>
                    <a:pt x="21114" y="16792"/>
                    <a:pt x="20079" y="18294"/>
                  </a:cubicBezTo>
                  <a:cubicBezTo>
                    <a:pt x="18801" y="20153"/>
                    <a:pt x="16308" y="21600"/>
                    <a:pt x="11258" y="21600"/>
                  </a:cubicBezTo>
                  <a:cubicBezTo>
                    <a:pt x="5497" y="21600"/>
                    <a:pt x="3184" y="19861"/>
                    <a:pt x="1846" y="17911"/>
                  </a:cubicBezTo>
                  <a:cubicBezTo>
                    <a:pt x="691" y="16231"/>
                    <a:pt x="0" y="13840"/>
                    <a:pt x="0" y="10801"/>
                  </a:cubicBezTo>
                  <a:cubicBezTo>
                    <a:pt x="0" y="7968"/>
                    <a:pt x="608" y="5460"/>
                    <a:pt x="1846" y="3660"/>
                  </a:cubicBezTo>
                  <a:cubicBezTo>
                    <a:pt x="3184" y="1713"/>
                    <a:pt x="5862" y="0"/>
                    <a:pt x="11258" y="0"/>
                  </a:cubicBezTo>
                  <a:cubicBezTo>
                    <a:pt x="15557" y="0"/>
                    <a:pt x="18882" y="1092"/>
                    <a:pt x="20606" y="2362"/>
                  </a:cubicBezTo>
                  <a:lnTo>
                    <a:pt x="20606" y="6552"/>
                  </a:lnTo>
                  <a:cubicBezTo>
                    <a:pt x="18558" y="4929"/>
                    <a:pt x="15171" y="3688"/>
                    <a:pt x="11258" y="3688"/>
                  </a:cubicBezTo>
                  <a:cubicBezTo>
                    <a:pt x="7322" y="3688"/>
                    <a:pt x="5232" y="4722"/>
                    <a:pt x="4300" y="6079"/>
                  </a:cubicBezTo>
                  <a:cubicBezTo>
                    <a:pt x="3549" y="7171"/>
                    <a:pt x="3164" y="8677"/>
                    <a:pt x="3164" y="10801"/>
                  </a:cubicBezTo>
                  <a:cubicBezTo>
                    <a:pt x="3164" y="13045"/>
                    <a:pt x="3591" y="14520"/>
                    <a:pt x="4300" y="15549"/>
                  </a:cubicBezTo>
                  <a:cubicBezTo>
                    <a:pt x="5232" y="16910"/>
                    <a:pt x="6956" y="18028"/>
                    <a:pt x="11258" y="18028"/>
                  </a:cubicBezTo>
                  <a:cubicBezTo>
                    <a:pt x="14663" y="18028"/>
                    <a:pt x="16815" y="17146"/>
                    <a:pt x="17626" y="15964"/>
                  </a:cubicBezTo>
                  <a:cubicBezTo>
                    <a:pt x="18173" y="15169"/>
                    <a:pt x="18376" y="14371"/>
                    <a:pt x="18376" y="13339"/>
                  </a:cubicBezTo>
                  <a:lnTo>
                    <a:pt x="9654" y="13339"/>
                  </a:lnTo>
                  <a:lnTo>
                    <a:pt x="9654" y="9679"/>
                  </a:lnTo>
                  <a:cubicBezTo>
                    <a:pt x="9654" y="9679"/>
                    <a:pt x="21600" y="9679"/>
                    <a:pt x="21600" y="9679"/>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16" name="Shape 42"/>
            <p:cNvSpPr/>
            <p:nvPr/>
          </p:nvSpPr>
          <p:spPr>
            <a:xfrm>
              <a:off x="317500" y="647700"/>
              <a:ext cx="172517" cy="135802"/>
            </a:xfrm>
            <a:custGeom>
              <a:avLst/>
              <a:gdLst/>
              <a:ahLst/>
              <a:cxnLst>
                <a:cxn ang="0">
                  <a:pos x="wd2" y="hd2"/>
                </a:cxn>
                <a:cxn ang="5400000">
                  <a:pos x="wd2" y="hd2"/>
                </a:cxn>
                <a:cxn ang="10800000">
                  <a:pos x="wd2" y="hd2"/>
                </a:cxn>
                <a:cxn ang="16200000">
                  <a:pos x="wd2" y="hd2"/>
                </a:cxn>
              </a:cxnLst>
              <a:rect l="0" t="0" r="r" b="b"/>
              <a:pathLst>
                <a:path w="21600" h="21600" extrusionOk="0">
                  <a:moveTo>
                    <a:pt x="17676" y="16780"/>
                  </a:moveTo>
                  <a:cubicBezTo>
                    <a:pt x="17992" y="16362"/>
                    <a:pt x="18105" y="15857"/>
                    <a:pt x="18105" y="15322"/>
                  </a:cubicBezTo>
                  <a:cubicBezTo>
                    <a:pt x="18105" y="14700"/>
                    <a:pt x="17992" y="14221"/>
                    <a:pt x="17720" y="13865"/>
                  </a:cubicBezTo>
                  <a:cubicBezTo>
                    <a:pt x="17221" y="13211"/>
                    <a:pt x="16291" y="12942"/>
                    <a:pt x="10687" y="12556"/>
                  </a:cubicBezTo>
                  <a:cubicBezTo>
                    <a:pt x="4355" y="12138"/>
                    <a:pt x="2428" y="11456"/>
                    <a:pt x="1339" y="10027"/>
                  </a:cubicBezTo>
                  <a:cubicBezTo>
                    <a:pt x="704" y="9193"/>
                    <a:pt x="433" y="8034"/>
                    <a:pt x="433" y="6547"/>
                  </a:cubicBezTo>
                  <a:cubicBezTo>
                    <a:pt x="433" y="5030"/>
                    <a:pt x="681" y="3602"/>
                    <a:pt x="1542" y="2471"/>
                  </a:cubicBezTo>
                  <a:cubicBezTo>
                    <a:pt x="2654" y="1012"/>
                    <a:pt x="4834" y="0"/>
                    <a:pt x="10415" y="0"/>
                  </a:cubicBezTo>
                  <a:cubicBezTo>
                    <a:pt x="14839" y="0"/>
                    <a:pt x="18173" y="834"/>
                    <a:pt x="20283" y="1935"/>
                  </a:cubicBezTo>
                  <a:lnTo>
                    <a:pt x="20283" y="5832"/>
                  </a:lnTo>
                  <a:cubicBezTo>
                    <a:pt x="17879" y="4492"/>
                    <a:pt x="13886" y="3511"/>
                    <a:pt x="10415" y="3511"/>
                  </a:cubicBezTo>
                  <a:cubicBezTo>
                    <a:pt x="6081" y="3511"/>
                    <a:pt x="4834" y="4048"/>
                    <a:pt x="4311" y="4731"/>
                  </a:cubicBezTo>
                  <a:cubicBezTo>
                    <a:pt x="4039" y="5088"/>
                    <a:pt x="3926" y="5565"/>
                    <a:pt x="3926" y="6131"/>
                  </a:cubicBezTo>
                  <a:cubicBezTo>
                    <a:pt x="3926" y="6664"/>
                    <a:pt x="4039" y="7110"/>
                    <a:pt x="4268" y="7409"/>
                  </a:cubicBezTo>
                  <a:cubicBezTo>
                    <a:pt x="4743" y="8034"/>
                    <a:pt x="5809" y="8391"/>
                    <a:pt x="10981" y="8716"/>
                  </a:cubicBezTo>
                  <a:cubicBezTo>
                    <a:pt x="17676" y="9163"/>
                    <a:pt x="19535" y="9819"/>
                    <a:pt x="20624" y="11247"/>
                  </a:cubicBezTo>
                  <a:cubicBezTo>
                    <a:pt x="21258" y="12078"/>
                    <a:pt x="21600" y="13360"/>
                    <a:pt x="21600" y="14845"/>
                  </a:cubicBezTo>
                  <a:cubicBezTo>
                    <a:pt x="21600" y="16394"/>
                    <a:pt x="21349" y="17823"/>
                    <a:pt x="20487" y="18952"/>
                  </a:cubicBezTo>
                  <a:cubicBezTo>
                    <a:pt x="19353" y="20441"/>
                    <a:pt x="17108" y="21600"/>
                    <a:pt x="11164" y="21600"/>
                  </a:cubicBezTo>
                  <a:cubicBezTo>
                    <a:pt x="6761" y="21600"/>
                    <a:pt x="2450" y="20677"/>
                    <a:pt x="0" y="19279"/>
                  </a:cubicBezTo>
                  <a:lnTo>
                    <a:pt x="0" y="15384"/>
                  </a:lnTo>
                  <a:cubicBezTo>
                    <a:pt x="2361" y="16869"/>
                    <a:pt x="7373" y="18087"/>
                    <a:pt x="11164" y="18087"/>
                  </a:cubicBezTo>
                  <a:cubicBezTo>
                    <a:pt x="15610" y="18087"/>
                    <a:pt x="17038" y="17614"/>
                    <a:pt x="17676" y="16780"/>
                  </a:cubicBezTo>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17" name="Shape 43"/>
            <p:cNvSpPr/>
            <p:nvPr/>
          </p:nvSpPr>
          <p:spPr>
            <a:xfrm>
              <a:off x="508000" y="647700"/>
              <a:ext cx="221908" cy="13092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086" y="21600"/>
                  </a:lnTo>
                  <a:lnTo>
                    <a:pt x="19086" y="3518"/>
                  </a:lnTo>
                  <a:lnTo>
                    <a:pt x="12495" y="21600"/>
                  </a:lnTo>
                  <a:lnTo>
                    <a:pt x="9089" y="21600"/>
                  </a:lnTo>
                  <a:lnTo>
                    <a:pt x="2500" y="3518"/>
                  </a:lnTo>
                  <a:lnTo>
                    <a:pt x="2500" y="21600"/>
                  </a:lnTo>
                  <a:lnTo>
                    <a:pt x="0" y="21600"/>
                  </a:lnTo>
                  <a:lnTo>
                    <a:pt x="0" y="0"/>
                  </a:lnTo>
                  <a:lnTo>
                    <a:pt x="4105" y="0"/>
                  </a:lnTo>
                  <a:lnTo>
                    <a:pt x="10841" y="18637"/>
                  </a:lnTo>
                  <a:lnTo>
                    <a:pt x="17592" y="0"/>
                  </a:lnTo>
                  <a:lnTo>
                    <a:pt x="21600" y="0"/>
                  </a:lnTo>
                  <a:cubicBezTo>
                    <a:pt x="21600" y="0"/>
                    <a:pt x="21600" y="21600"/>
                    <a:pt x="21600" y="21600"/>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18" name="Shape 44"/>
            <p:cNvSpPr/>
            <p:nvPr/>
          </p:nvSpPr>
          <p:spPr>
            <a:xfrm>
              <a:off x="749300" y="647700"/>
              <a:ext cx="208090" cy="131674"/>
            </a:xfrm>
            <a:custGeom>
              <a:avLst/>
              <a:gdLst/>
              <a:ahLst/>
              <a:cxnLst>
                <a:cxn ang="0">
                  <a:pos x="wd2" y="hd2"/>
                </a:cxn>
                <a:cxn ang="5400000">
                  <a:pos x="wd2" y="hd2"/>
                </a:cxn>
                <a:cxn ang="10800000">
                  <a:pos x="wd2" y="hd2"/>
                </a:cxn>
                <a:cxn ang="16200000">
                  <a:pos x="wd2" y="hd2"/>
                </a:cxn>
              </a:cxnLst>
              <a:rect l="0" t="0" r="r" b="b"/>
              <a:pathLst>
                <a:path w="21600" h="21600" extrusionOk="0">
                  <a:moveTo>
                    <a:pt x="12716" y="0"/>
                  </a:moveTo>
                  <a:lnTo>
                    <a:pt x="21600" y="21600"/>
                  </a:lnTo>
                  <a:lnTo>
                    <a:pt x="18353" y="21600"/>
                  </a:lnTo>
                  <a:lnTo>
                    <a:pt x="16310" y="16538"/>
                  </a:lnTo>
                  <a:lnTo>
                    <a:pt x="5164" y="16538"/>
                  </a:lnTo>
                  <a:lnTo>
                    <a:pt x="3119" y="21600"/>
                  </a:lnTo>
                  <a:lnTo>
                    <a:pt x="0" y="21600"/>
                  </a:lnTo>
                  <a:lnTo>
                    <a:pt x="8885" y="0"/>
                  </a:lnTo>
                  <a:cubicBezTo>
                    <a:pt x="8885" y="0"/>
                    <a:pt x="12716" y="0"/>
                    <a:pt x="12716" y="0"/>
                  </a:cubicBezTo>
                  <a:close/>
                  <a:moveTo>
                    <a:pt x="6694" y="12733"/>
                  </a:moveTo>
                  <a:lnTo>
                    <a:pt x="14777" y="12733"/>
                  </a:lnTo>
                  <a:lnTo>
                    <a:pt x="10727" y="2700"/>
                  </a:lnTo>
                  <a:cubicBezTo>
                    <a:pt x="10727" y="2700"/>
                    <a:pt x="6694" y="12733"/>
                    <a:pt x="6694" y="12733"/>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19" name="Shape 45"/>
            <p:cNvSpPr/>
            <p:nvPr/>
          </p:nvSpPr>
          <p:spPr>
            <a:xfrm>
              <a:off x="914400" y="647700"/>
              <a:ext cx="21959" cy="29401"/>
            </a:xfrm>
            <a:custGeom>
              <a:avLst/>
              <a:gdLst/>
              <a:ahLst/>
              <a:cxnLst>
                <a:cxn ang="0">
                  <a:pos x="wd2" y="hd2"/>
                </a:cxn>
                <a:cxn ang="5400000">
                  <a:pos x="wd2" y="hd2"/>
                </a:cxn>
                <a:cxn ang="10800000">
                  <a:pos x="wd2" y="hd2"/>
                </a:cxn>
                <a:cxn ang="16200000">
                  <a:pos x="wd2" y="hd2"/>
                </a:cxn>
              </a:cxnLst>
              <a:rect l="0" t="0" r="r" b="b"/>
              <a:pathLst>
                <a:path w="21600" h="21600" extrusionOk="0">
                  <a:moveTo>
                    <a:pt x="8445" y="3517"/>
                  </a:moveTo>
                  <a:lnTo>
                    <a:pt x="0" y="3517"/>
                  </a:lnTo>
                  <a:lnTo>
                    <a:pt x="0" y="0"/>
                  </a:lnTo>
                  <a:lnTo>
                    <a:pt x="21600" y="0"/>
                  </a:lnTo>
                  <a:lnTo>
                    <a:pt x="21600" y="3517"/>
                  </a:lnTo>
                  <a:lnTo>
                    <a:pt x="13155" y="3517"/>
                  </a:lnTo>
                  <a:lnTo>
                    <a:pt x="13155" y="21600"/>
                  </a:lnTo>
                  <a:lnTo>
                    <a:pt x="8445" y="21600"/>
                  </a:lnTo>
                  <a:cubicBezTo>
                    <a:pt x="8445" y="21600"/>
                    <a:pt x="8445" y="3517"/>
                    <a:pt x="8445" y="3517"/>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20" name="Shape 46"/>
            <p:cNvSpPr/>
            <p:nvPr/>
          </p:nvSpPr>
          <p:spPr>
            <a:xfrm>
              <a:off x="939800" y="647700"/>
              <a:ext cx="26607" cy="29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114" y="0"/>
                  </a:lnTo>
                  <a:lnTo>
                    <a:pt x="10795" y="10217"/>
                  </a:lnTo>
                  <a:lnTo>
                    <a:pt x="17486" y="0"/>
                  </a:lnTo>
                  <a:lnTo>
                    <a:pt x="21600" y="0"/>
                  </a:lnTo>
                  <a:lnTo>
                    <a:pt x="21600" y="21600"/>
                  </a:lnTo>
                  <a:lnTo>
                    <a:pt x="17734" y="21600"/>
                  </a:lnTo>
                  <a:lnTo>
                    <a:pt x="17734" y="6111"/>
                  </a:lnTo>
                  <a:lnTo>
                    <a:pt x="10795" y="16300"/>
                  </a:lnTo>
                  <a:lnTo>
                    <a:pt x="10671" y="16300"/>
                  </a:lnTo>
                  <a:lnTo>
                    <a:pt x="3804" y="6168"/>
                  </a:lnTo>
                  <a:lnTo>
                    <a:pt x="3804" y="21600"/>
                  </a:lnTo>
                  <a:lnTo>
                    <a:pt x="0" y="21600"/>
                  </a:lnTo>
                  <a:cubicBezTo>
                    <a:pt x="0" y="21600"/>
                    <a:pt x="0" y="0"/>
                    <a:pt x="0" y="0"/>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21" name="Shape 47"/>
            <p:cNvSpPr/>
            <p:nvPr/>
          </p:nvSpPr>
          <p:spPr>
            <a:xfrm>
              <a:off x="101600" y="469900"/>
              <a:ext cx="91237" cy="10762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cubicBezTo>
                    <a:pt x="21600" y="21600"/>
                    <a:pt x="21600" y="0"/>
                    <a:pt x="21600" y="0"/>
                  </a:cubicBezTo>
                  <a:close/>
                </a:path>
              </a:pathLst>
            </a:custGeom>
            <a:solidFill>
              <a:srgbClr val="951C00"/>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22" name="Shape 48"/>
            <p:cNvSpPr/>
            <p:nvPr/>
          </p:nvSpPr>
          <p:spPr>
            <a:xfrm>
              <a:off x="228600" y="419100"/>
              <a:ext cx="136830" cy="16139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cubicBezTo>
                    <a:pt x="21600" y="21600"/>
                    <a:pt x="21600" y="0"/>
                    <a:pt x="21600" y="0"/>
                  </a:cubicBezTo>
                  <a:close/>
                </a:path>
              </a:pathLst>
            </a:custGeom>
            <a:solidFill>
              <a:srgbClr val="BE2207"/>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23" name="Shape 49"/>
            <p:cNvSpPr/>
            <p:nvPr/>
          </p:nvSpPr>
          <p:spPr>
            <a:xfrm>
              <a:off x="406400" y="342900"/>
              <a:ext cx="205042" cy="24208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cubicBezTo>
                    <a:pt x="21600" y="21600"/>
                    <a:pt x="21600" y="0"/>
                    <a:pt x="21600" y="0"/>
                  </a:cubicBezTo>
                  <a:close/>
                </a:path>
              </a:pathLst>
            </a:custGeom>
            <a:solidFill>
              <a:srgbClr val="DD2312"/>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24" name="Shape 50"/>
            <p:cNvSpPr/>
            <p:nvPr/>
          </p:nvSpPr>
          <p:spPr>
            <a:xfrm>
              <a:off x="647700" y="215900"/>
              <a:ext cx="303480" cy="36306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cubicBezTo>
                    <a:pt x="21600" y="21600"/>
                    <a:pt x="21600" y="0"/>
                    <a:pt x="21600" y="0"/>
                  </a:cubicBezTo>
                  <a:close/>
                </a:path>
              </a:pathLst>
            </a:custGeom>
            <a:solidFill>
              <a:srgbClr val="EB2416"/>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grpSp>
    </p:spTree>
    <p:extLst>
      <p:ext uri="{BB962C8B-B14F-4D97-AF65-F5344CB8AC3E}">
        <p14:creationId xmlns:p14="http://schemas.microsoft.com/office/powerpoint/2010/main" val="3639290954"/>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9" r:id="rId10"/>
    <p:sldLayoutId id="2147483800" r:id="rId11"/>
  </p:sldLayoutIdLst>
  <p:timing>
    <p:tnLst>
      <p:par>
        <p:cTn id="1" dur="indefinite" restart="never" nodeType="tmRoot"/>
      </p:par>
    </p:tnLst>
  </p:timing>
  <p:hf hdr="0" ftr="0" dt="0"/>
  <p:txStyles>
    <p:titleStyle>
      <a:lvl1pPr algn="l" defTabSz="914411" rtl="0" eaLnBrk="1" latinLnBrk="0" hangingPunct="1">
        <a:spcBef>
          <a:spcPct val="0"/>
        </a:spcBef>
        <a:buNone/>
        <a:defRPr sz="2000" b="1" kern="1200">
          <a:solidFill>
            <a:schemeClr val="tx1"/>
          </a:solidFill>
          <a:latin typeface="Arial" panose="020B0604020202020204" pitchFamily="34" charset="0"/>
          <a:ea typeface="+mj-ea"/>
          <a:cs typeface="Arial" panose="020B0604020202020204" pitchFamily="34" charset="0"/>
        </a:defRPr>
      </a:lvl1pPr>
    </p:titleStyle>
    <p:bodyStyle>
      <a:lvl1pPr marL="342905" indent="-342905" algn="l" defTabSz="914411" rtl="0" eaLnBrk="1" latinLnBrk="0" hangingPunct="1">
        <a:spcBef>
          <a:spcPct val="20000"/>
        </a:spcBef>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60" indent="-285753" algn="l" defTabSz="914411" rtl="0" eaLnBrk="1" latinLnBrk="0" hangingPunct="1">
        <a:spcBef>
          <a:spcPct val="20000"/>
        </a:spcBef>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14" indent="-228603" algn="l" defTabSz="914411" rtl="0" eaLnBrk="1" latinLnBrk="0" hangingPunct="1">
        <a:spcBef>
          <a:spcPct val="20000"/>
        </a:spcBef>
        <a:buFont typeface="Arial" panose="020B0604020202020204" pitchFamily="34" charset="0"/>
        <a:buChar char="•"/>
        <a:defRPr sz="1600"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600220" indent="-228603" algn="l" defTabSz="914411"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4pPr>
      <a:lvl5pPr marL="2057426" indent="-228603" algn="l" defTabSz="914411"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5pPr>
      <a:lvl6pPr marL="2514632" indent="-228603" algn="l" defTabSz="91441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37" indent="-228603" algn="l" defTabSz="91441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43" indent="-228603" algn="l" defTabSz="91441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48" indent="-228603" algn="l" defTabSz="91441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11" rtl="0" eaLnBrk="1" latinLnBrk="0" hangingPunct="1">
        <a:defRPr sz="1800" kern="1200">
          <a:solidFill>
            <a:schemeClr val="tx1"/>
          </a:solidFill>
          <a:latin typeface="+mn-lt"/>
          <a:ea typeface="+mn-ea"/>
          <a:cs typeface="+mn-cs"/>
        </a:defRPr>
      </a:lvl1pPr>
      <a:lvl2pPr marL="457206" algn="l" defTabSz="914411" rtl="0" eaLnBrk="1" latinLnBrk="0" hangingPunct="1">
        <a:defRPr sz="1800" kern="1200">
          <a:solidFill>
            <a:schemeClr val="tx1"/>
          </a:solidFill>
          <a:latin typeface="+mn-lt"/>
          <a:ea typeface="+mn-ea"/>
          <a:cs typeface="+mn-cs"/>
        </a:defRPr>
      </a:lvl2pPr>
      <a:lvl3pPr marL="914411" algn="l" defTabSz="914411" rtl="0" eaLnBrk="1" latinLnBrk="0" hangingPunct="1">
        <a:defRPr sz="1800" kern="1200">
          <a:solidFill>
            <a:schemeClr val="tx1"/>
          </a:solidFill>
          <a:latin typeface="+mn-lt"/>
          <a:ea typeface="+mn-ea"/>
          <a:cs typeface="+mn-cs"/>
        </a:defRPr>
      </a:lvl3pPr>
      <a:lvl4pPr marL="1371617" algn="l" defTabSz="914411" rtl="0" eaLnBrk="1" latinLnBrk="0" hangingPunct="1">
        <a:defRPr sz="1800" kern="1200">
          <a:solidFill>
            <a:schemeClr val="tx1"/>
          </a:solidFill>
          <a:latin typeface="+mn-lt"/>
          <a:ea typeface="+mn-ea"/>
          <a:cs typeface="+mn-cs"/>
        </a:defRPr>
      </a:lvl4pPr>
      <a:lvl5pPr marL="1828823" algn="l" defTabSz="914411" rtl="0" eaLnBrk="1" latinLnBrk="0" hangingPunct="1">
        <a:defRPr sz="1800" kern="1200">
          <a:solidFill>
            <a:schemeClr val="tx1"/>
          </a:solidFill>
          <a:latin typeface="+mn-lt"/>
          <a:ea typeface="+mn-ea"/>
          <a:cs typeface="+mn-cs"/>
        </a:defRPr>
      </a:lvl5pPr>
      <a:lvl6pPr marL="2286029" algn="l" defTabSz="914411" rtl="0" eaLnBrk="1" latinLnBrk="0" hangingPunct="1">
        <a:defRPr sz="1800" kern="1200">
          <a:solidFill>
            <a:schemeClr val="tx1"/>
          </a:solidFill>
          <a:latin typeface="+mn-lt"/>
          <a:ea typeface="+mn-ea"/>
          <a:cs typeface="+mn-cs"/>
        </a:defRPr>
      </a:lvl6pPr>
      <a:lvl7pPr marL="2743234" algn="l" defTabSz="914411" rtl="0" eaLnBrk="1" latinLnBrk="0" hangingPunct="1">
        <a:defRPr sz="1800" kern="1200">
          <a:solidFill>
            <a:schemeClr val="tx1"/>
          </a:solidFill>
          <a:latin typeface="+mn-lt"/>
          <a:ea typeface="+mn-ea"/>
          <a:cs typeface="+mn-cs"/>
        </a:defRPr>
      </a:lvl7pPr>
      <a:lvl8pPr marL="3200440" algn="l" defTabSz="914411" rtl="0" eaLnBrk="1" latinLnBrk="0" hangingPunct="1">
        <a:defRPr sz="1800" kern="1200">
          <a:solidFill>
            <a:schemeClr val="tx1"/>
          </a:solidFill>
          <a:latin typeface="+mn-lt"/>
          <a:ea typeface="+mn-ea"/>
          <a:cs typeface="+mn-cs"/>
        </a:defRPr>
      </a:lvl8pPr>
      <a:lvl9pPr marL="3657646" algn="l" defTabSz="914411"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7"/>
          <a:stretch>
            <a:fillRect/>
          </a:stretch>
        </p:blipFill>
        <p:spPr>
          <a:xfrm>
            <a:off x="5874818" y="4276166"/>
            <a:ext cx="3269181" cy="867334"/>
          </a:xfrm>
          <a:prstGeom prst="rect">
            <a:avLst/>
          </a:prstGeom>
        </p:spPr>
      </p:pic>
      <p:pic>
        <p:nvPicPr>
          <p:cNvPr id="3" name="Picture 2"/>
          <p:cNvPicPr>
            <a:picLocks noChangeAspect="1"/>
          </p:cNvPicPr>
          <p:nvPr userDrawn="1"/>
        </p:nvPicPr>
        <p:blipFill>
          <a:blip r:embed="rId8"/>
          <a:stretch>
            <a:fillRect/>
          </a:stretch>
        </p:blipFill>
        <p:spPr>
          <a:xfrm>
            <a:off x="321962" y="314493"/>
            <a:ext cx="454417" cy="454417"/>
          </a:xfrm>
          <a:prstGeom prst="rect">
            <a:avLst/>
          </a:prstGeom>
        </p:spPr>
      </p:pic>
    </p:spTree>
    <p:extLst>
      <p:ext uri="{BB962C8B-B14F-4D97-AF65-F5344CB8AC3E}">
        <p14:creationId xmlns:p14="http://schemas.microsoft.com/office/powerpoint/2010/main" val="2562063418"/>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Lst>
  <p:timing>
    <p:tnLst>
      <p:par>
        <p:cTn id="1" dur="indefinite" restart="never" nodeType="tmRoot"/>
      </p:par>
    </p:tnLst>
  </p:timing>
  <p:hf hdr="0" ftr="0" dt="0"/>
  <p:txStyles>
    <p:titleStyle>
      <a:lvl1pPr algn="l" defTabSz="685800" rtl="0" eaLnBrk="1" latinLnBrk="0" hangingPunct="1">
        <a:spcBef>
          <a:spcPct val="0"/>
        </a:spcBef>
        <a:buNone/>
        <a:defRPr sz="1800" b="1" i="0" kern="1200">
          <a:solidFill>
            <a:schemeClr val="tx2"/>
          </a:solidFill>
          <a:latin typeface="Arial" charset="0"/>
          <a:ea typeface="Arial" charset="0"/>
          <a:cs typeface="Arial" charset="0"/>
        </a:defRPr>
      </a:lvl1pPr>
    </p:titleStyle>
    <p:bodyStyle>
      <a:lvl1pPr marL="257175" indent="-257175" algn="l" defTabSz="685800" rtl="0" eaLnBrk="1" latinLnBrk="0" hangingPunct="1">
        <a:lnSpc>
          <a:spcPct val="120000"/>
        </a:lnSpc>
        <a:spcBef>
          <a:spcPct val="20000"/>
        </a:spcBef>
        <a:buClr>
          <a:schemeClr val="accent2"/>
        </a:buClr>
        <a:buFont typeface="Wingdings" charset="2"/>
        <a:buChar char="§"/>
        <a:defRPr sz="1500" b="0" i="0" kern="1200">
          <a:solidFill>
            <a:schemeClr val="tx1"/>
          </a:solidFill>
          <a:latin typeface="Arial" charset="0"/>
          <a:ea typeface="Arial" charset="0"/>
          <a:cs typeface="Arial" charset="0"/>
        </a:defRPr>
      </a:lvl1pPr>
      <a:lvl2pPr marL="557213" indent="-214313" algn="l" defTabSz="685800" rtl="0" eaLnBrk="1" latinLnBrk="0" hangingPunct="1">
        <a:lnSpc>
          <a:spcPct val="120000"/>
        </a:lnSpc>
        <a:spcBef>
          <a:spcPct val="20000"/>
        </a:spcBef>
        <a:buClr>
          <a:schemeClr val="accent2"/>
        </a:buClr>
        <a:buFont typeface="Wingdings" charset="2"/>
        <a:buChar char="§"/>
        <a:defRPr sz="1350" b="0" i="0" kern="1200">
          <a:solidFill>
            <a:schemeClr val="tx1">
              <a:lumMod val="85000"/>
              <a:lumOff val="15000"/>
            </a:schemeClr>
          </a:solidFill>
          <a:latin typeface="Arial" charset="0"/>
          <a:ea typeface="Arial" charset="0"/>
          <a:cs typeface="Arial" charset="0"/>
        </a:defRPr>
      </a:lvl2pPr>
      <a:lvl3pPr marL="857250" indent="-171450" algn="l" defTabSz="685800" rtl="0" eaLnBrk="1" latinLnBrk="0" hangingPunct="1">
        <a:lnSpc>
          <a:spcPct val="120000"/>
        </a:lnSpc>
        <a:spcBef>
          <a:spcPct val="20000"/>
        </a:spcBef>
        <a:buClr>
          <a:schemeClr val="accent2"/>
        </a:buClr>
        <a:buFont typeface="Wingdings" charset="2"/>
        <a:buChar char="§"/>
        <a:defRPr sz="1200" b="0" i="0" kern="1200">
          <a:solidFill>
            <a:schemeClr val="tx1">
              <a:lumMod val="85000"/>
              <a:lumOff val="15000"/>
            </a:schemeClr>
          </a:solidFill>
          <a:latin typeface="Arial" charset="0"/>
          <a:ea typeface="Arial" charset="0"/>
          <a:cs typeface="Arial" charset="0"/>
        </a:defRPr>
      </a:lvl3pPr>
      <a:lvl4pPr marL="12001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4pPr>
      <a:lvl5pPr marL="15430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4208606870"/>
              </p:ext>
            </p:extLst>
          </p:nvPr>
        </p:nvGraphicFramePr>
        <p:xfrm>
          <a:off x="893" y="893"/>
          <a:ext cx="893" cy="893"/>
        </p:xfrm>
        <a:graphic>
          <a:graphicData uri="http://schemas.openxmlformats.org/presentationml/2006/ole">
            <mc:AlternateContent xmlns:mc="http://schemas.openxmlformats.org/markup-compatibility/2006">
              <mc:Choice xmlns:v="urn:schemas-microsoft-com:vml" Requires="v">
                <p:oleObj spid="_x0000_s53498" name="think-cell Slide" r:id="rId14" imgW="518" imgH="520" progId="TCLayout.ActiveDocument.1">
                  <p:embed/>
                </p:oleObj>
              </mc:Choice>
              <mc:Fallback>
                <p:oleObj name="think-cell Slide" r:id="rId14" imgW="518" imgH="520" progId="TCLayout.ActiveDocument.1">
                  <p:embed/>
                  <p:pic>
                    <p:nvPicPr>
                      <p:cNvPr id="2" name="Object 1" hidden="1"/>
                      <p:cNvPicPr/>
                      <p:nvPr/>
                    </p:nvPicPr>
                    <p:blipFill>
                      <a:blip r:embed="rId15"/>
                      <a:stretch>
                        <a:fillRect/>
                      </a:stretch>
                    </p:blipFill>
                    <p:spPr>
                      <a:xfrm>
                        <a:off x="893" y="893"/>
                        <a:ext cx="893" cy="893"/>
                      </a:xfrm>
                      <a:prstGeom prst="rect">
                        <a:avLst/>
                      </a:prstGeom>
                    </p:spPr>
                  </p:pic>
                </p:oleObj>
              </mc:Fallback>
            </mc:AlternateContent>
          </a:graphicData>
        </a:graphic>
      </p:graphicFrame>
      <p:grpSp>
        <p:nvGrpSpPr>
          <p:cNvPr id="6" name="Group 5"/>
          <p:cNvGrpSpPr/>
          <p:nvPr userDrawn="1"/>
        </p:nvGrpSpPr>
        <p:grpSpPr>
          <a:xfrm>
            <a:off x="428625" y="4587974"/>
            <a:ext cx="8272464" cy="71438"/>
            <a:chOff x="428625" y="4711700"/>
            <a:chExt cx="8272464" cy="71438"/>
          </a:xfrm>
        </p:grpSpPr>
        <p:sp>
          <p:nvSpPr>
            <p:cNvPr id="3" name="Rectangle 2"/>
            <p:cNvSpPr/>
            <p:nvPr/>
          </p:nvSpPr>
          <p:spPr>
            <a:xfrm>
              <a:off x="428625" y="4711700"/>
              <a:ext cx="2757488"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914411" hangingPunct="1"/>
              <a:endParaRPr lang="en-ZA" sz="1800" kern="1200" dirty="0">
                <a:solidFill>
                  <a:srgbClr val="FFFFFF"/>
                </a:solidFill>
              </a:endParaRPr>
            </a:p>
          </p:txBody>
        </p:sp>
        <p:sp>
          <p:nvSpPr>
            <p:cNvPr id="4" name="Rectangle 3"/>
            <p:cNvSpPr/>
            <p:nvPr/>
          </p:nvSpPr>
          <p:spPr>
            <a:xfrm>
              <a:off x="3186113" y="4711700"/>
              <a:ext cx="2757488"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914411" hangingPunct="1"/>
              <a:endParaRPr lang="en-ZA" sz="1800" kern="1200" dirty="0">
                <a:solidFill>
                  <a:srgbClr val="FFFFFF"/>
                </a:solidFill>
              </a:endParaRPr>
            </a:p>
          </p:txBody>
        </p:sp>
        <p:sp>
          <p:nvSpPr>
            <p:cNvPr id="5" name="Rectangle 4"/>
            <p:cNvSpPr/>
            <p:nvPr/>
          </p:nvSpPr>
          <p:spPr>
            <a:xfrm>
              <a:off x="5943601" y="4711700"/>
              <a:ext cx="2757488"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defTabSz="914411" hangingPunct="1"/>
              <a:endParaRPr lang="en-ZA" sz="1800" kern="1200" dirty="0">
                <a:solidFill>
                  <a:srgbClr val="FFFFFF"/>
                </a:solidFill>
              </a:endParaRPr>
            </a:p>
          </p:txBody>
        </p:sp>
      </p:grpSp>
      <p:grpSp>
        <p:nvGrpSpPr>
          <p:cNvPr id="11" name="Group 53"/>
          <p:cNvGrpSpPr/>
          <p:nvPr userDrawn="1"/>
        </p:nvGrpSpPr>
        <p:grpSpPr>
          <a:xfrm>
            <a:off x="319087" y="319088"/>
            <a:ext cx="596254" cy="596247"/>
            <a:chOff x="0" y="0"/>
            <a:chExt cx="1060006" cy="1059993"/>
          </a:xfrm>
        </p:grpSpPr>
        <p:sp>
          <p:nvSpPr>
            <p:cNvPr id="13" name="Shape 39"/>
            <p:cNvSpPr/>
            <p:nvPr/>
          </p:nvSpPr>
          <p:spPr>
            <a:xfrm>
              <a:off x="0" y="0"/>
              <a:ext cx="1060006" cy="105999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cubicBezTo>
                    <a:pt x="0" y="0"/>
                    <a:pt x="0" y="21600"/>
                    <a:pt x="0" y="21600"/>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14" name="Shape 40"/>
            <p:cNvSpPr/>
            <p:nvPr/>
          </p:nvSpPr>
          <p:spPr>
            <a:xfrm>
              <a:off x="12700" y="12700"/>
              <a:ext cx="1033501" cy="10335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lnTo>
                    <a:pt x="0" y="0"/>
                  </a:lnTo>
                  <a:cubicBezTo>
                    <a:pt x="0" y="0"/>
                    <a:pt x="0" y="21600"/>
                    <a:pt x="0" y="21600"/>
                  </a:cubicBezTo>
                  <a:close/>
                </a:path>
              </a:pathLst>
            </a:custGeom>
            <a:solidFill>
              <a:srgbClr val="000000"/>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15" name="Shape 41"/>
            <p:cNvSpPr/>
            <p:nvPr/>
          </p:nvSpPr>
          <p:spPr>
            <a:xfrm>
              <a:off x="101600" y="647700"/>
              <a:ext cx="192990" cy="136919"/>
            </a:xfrm>
            <a:custGeom>
              <a:avLst/>
              <a:gdLst/>
              <a:ahLst/>
              <a:cxnLst>
                <a:cxn ang="0">
                  <a:pos x="wd2" y="hd2"/>
                </a:cxn>
                <a:cxn ang="5400000">
                  <a:pos x="wd2" y="hd2"/>
                </a:cxn>
                <a:cxn ang="10800000">
                  <a:pos x="wd2" y="hd2"/>
                </a:cxn>
                <a:cxn ang="16200000">
                  <a:pos x="wd2" y="hd2"/>
                </a:cxn>
              </a:cxnLst>
              <a:rect l="0" t="0" r="r" b="b"/>
              <a:pathLst>
                <a:path w="21600" h="21600" extrusionOk="0">
                  <a:moveTo>
                    <a:pt x="21600" y="9679"/>
                  </a:moveTo>
                  <a:lnTo>
                    <a:pt x="21600" y="12041"/>
                  </a:lnTo>
                  <a:cubicBezTo>
                    <a:pt x="21600" y="14932"/>
                    <a:pt x="21114" y="16792"/>
                    <a:pt x="20079" y="18294"/>
                  </a:cubicBezTo>
                  <a:cubicBezTo>
                    <a:pt x="18801" y="20153"/>
                    <a:pt x="16308" y="21600"/>
                    <a:pt x="11258" y="21600"/>
                  </a:cubicBezTo>
                  <a:cubicBezTo>
                    <a:pt x="5497" y="21600"/>
                    <a:pt x="3184" y="19861"/>
                    <a:pt x="1846" y="17911"/>
                  </a:cubicBezTo>
                  <a:cubicBezTo>
                    <a:pt x="691" y="16231"/>
                    <a:pt x="0" y="13840"/>
                    <a:pt x="0" y="10801"/>
                  </a:cubicBezTo>
                  <a:cubicBezTo>
                    <a:pt x="0" y="7968"/>
                    <a:pt x="608" y="5460"/>
                    <a:pt x="1846" y="3660"/>
                  </a:cubicBezTo>
                  <a:cubicBezTo>
                    <a:pt x="3184" y="1713"/>
                    <a:pt x="5862" y="0"/>
                    <a:pt x="11258" y="0"/>
                  </a:cubicBezTo>
                  <a:cubicBezTo>
                    <a:pt x="15557" y="0"/>
                    <a:pt x="18882" y="1092"/>
                    <a:pt x="20606" y="2362"/>
                  </a:cubicBezTo>
                  <a:lnTo>
                    <a:pt x="20606" y="6552"/>
                  </a:lnTo>
                  <a:cubicBezTo>
                    <a:pt x="18558" y="4929"/>
                    <a:pt x="15171" y="3688"/>
                    <a:pt x="11258" y="3688"/>
                  </a:cubicBezTo>
                  <a:cubicBezTo>
                    <a:pt x="7322" y="3688"/>
                    <a:pt x="5232" y="4722"/>
                    <a:pt x="4300" y="6079"/>
                  </a:cubicBezTo>
                  <a:cubicBezTo>
                    <a:pt x="3549" y="7171"/>
                    <a:pt x="3164" y="8677"/>
                    <a:pt x="3164" y="10801"/>
                  </a:cubicBezTo>
                  <a:cubicBezTo>
                    <a:pt x="3164" y="13045"/>
                    <a:pt x="3591" y="14520"/>
                    <a:pt x="4300" y="15549"/>
                  </a:cubicBezTo>
                  <a:cubicBezTo>
                    <a:pt x="5232" y="16910"/>
                    <a:pt x="6956" y="18028"/>
                    <a:pt x="11258" y="18028"/>
                  </a:cubicBezTo>
                  <a:cubicBezTo>
                    <a:pt x="14663" y="18028"/>
                    <a:pt x="16815" y="17146"/>
                    <a:pt x="17626" y="15964"/>
                  </a:cubicBezTo>
                  <a:cubicBezTo>
                    <a:pt x="18173" y="15169"/>
                    <a:pt x="18376" y="14371"/>
                    <a:pt x="18376" y="13339"/>
                  </a:cubicBezTo>
                  <a:lnTo>
                    <a:pt x="9654" y="13339"/>
                  </a:lnTo>
                  <a:lnTo>
                    <a:pt x="9654" y="9679"/>
                  </a:lnTo>
                  <a:cubicBezTo>
                    <a:pt x="9654" y="9679"/>
                    <a:pt x="21600" y="9679"/>
                    <a:pt x="21600" y="9679"/>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16" name="Shape 42"/>
            <p:cNvSpPr/>
            <p:nvPr/>
          </p:nvSpPr>
          <p:spPr>
            <a:xfrm>
              <a:off x="317500" y="647700"/>
              <a:ext cx="172517" cy="135802"/>
            </a:xfrm>
            <a:custGeom>
              <a:avLst/>
              <a:gdLst/>
              <a:ahLst/>
              <a:cxnLst>
                <a:cxn ang="0">
                  <a:pos x="wd2" y="hd2"/>
                </a:cxn>
                <a:cxn ang="5400000">
                  <a:pos x="wd2" y="hd2"/>
                </a:cxn>
                <a:cxn ang="10800000">
                  <a:pos x="wd2" y="hd2"/>
                </a:cxn>
                <a:cxn ang="16200000">
                  <a:pos x="wd2" y="hd2"/>
                </a:cxn>
              </a:cxnLst>
              <a:rect l="0" t="0" r="r" b="b"/>
              <a:pathLst>
                <a:path w="21600" h="21600" extrusionOk="0">
                  <a:moveTo>
                    <a:pt x="17676" y="16780"/>
                  </a:moveTo>
                  <a:cubicBezTo>
                    <a:pt x="17992" y="16362"/>
                    <a:pt x="18105" y="15857"/>
                    <a:pt x="18105" y="15322"/>
                  </a:cubicBezTo>
                  <a:cubicBezTo>
                    <a:pt x="18105" y="14700"/>
                    <a:pt x="17992" y="14221"/>
                    <a:pt x="17720" y="13865"/>
                  </a:cubicBezTo>
                  <a:cubicBezTo>
                    <a:pt x="17221" y="13211"/>
                    <a:pt x="16291" y="12942"/>
                    <a:pt x="10687" y="12556"/>
                  </a:cubicBezTo>
                  <a:cubicBezTo>
                    <a:pt x="4355" y="12138"/>
                    <a:pt x="2428" y="11456"/>
                    <a:pt x="1339" y="10027"/>
                  </a:cubicBezTo>
                  <a:cubicBezTo>
                    <a:pt x="704" y="9193"/>
                    <a:pt x="433" y="8034"/>
                    <a:pt x="433" y="6547"/>
                  </a:cubicBezTo>
                  <a:cubicBezTo>
                    <a:pt x="433" y="5030"/>
                    <a:pt x="681" y="3602"/>
                    <a:pt x="1542" y="2471"/>
                  </a:cubicBezTo>
                  <a:cubicBezTo>
                    <a:pt x="2654" y="1012"/>
                    <a:pt x="4834" y="0"/>
                    <a:pt x="10415" y="0"/>
                  </a:cubicBezTo>
                  <a:cubicBezTo>
                    <a:pt x="14839" y="0"/>
                    <a:pt x="18173" y="834"/>
                    <a:pt x="20283" y="1935"/>
                  </a:cubicBezTo>
                  <a:lnTo>
                    <a:pt x="20283" y="5832"/>
                  </a:lnTo>
                  <a:cubicBezTo>
                    <a:pt x="17879" y="4492"/>
                    <a:pt x="13886" y="3511"/>
                    <a:pt x="10415" y="3511"/>
                  </a:cubicBezTo>
                  <a:cubicBezTo>
                    <a:pt x="6081" y="3511"/>
                    <a:pt x="4834" y="4048"/>
                    <a:pt x="4311" y="4731"/>
                  </a:cubicBezTo>
                  <a:cubicBezTo>
                    <a:pt x="4039" y="5088"/>
                    <a:pt x="3926" y="5565"/>
                    <a:pt x="3926" y="6131"/>
                  </a:cubicBezTo>
                  <a:cubicBezTo>
                    <a:pt x="3926" y="6664"/>
                    <a:pt x="4039" y="7110"/>
                    <a:pt x="4268" y="7409"/>
                  </a:cubicBezTo>
                  <a:cubicBezTo>
                    <a:pt x="4743" y="8034"/>
                    <a:pt x="5809" y="8391"/>
                    <a:pt x="10981" y="8716"/>
                  </a:cubicBezTo>
                  <a:cubicBezTo>
                    <a:pt x="17676" y="9163"/>
                    <a:pt x="19535" y="9819"/>
                    <a:pt x="20624" y="11247"/>
                  </a:cubicBezTo>
                  <a:cubicBezTo>
                    <a:pt x="21258" y="12078"/>
                    <a:pt x="21600" y="13360"/>
                    <a:pt x="21600" y="14845"/>
                  </a:cubicBezTo>
                  <a:cubicBezTo>
                    <a:pt x="21600" y="16394"/>
                    <a:pt x="21349" y="17823"/>
                    <a:pt x="20487" y="18952"/>
                  </a:cubicBezTo>
                  <a:cubicBezTo>
                    <a:pt x="19353" y="20441"/>
                    <a:pt x="17108" y="21600"/>
                    <a:pt x="11164" y="21600"/>
                  </a:cubicBezTo>
                  <a:cubicBezTo>
                    <a:pt x="6761" y="21600"/>
                    <a:pt x="2450" y="20677"/>
                    <a:pt x="0" y="19279"/>
                  </a:cubicBezTo>
                  <a:lnTo>
                    <a:pt x="0" y="15384"/>
                  </a:lnTo>
                  <a:cubicBezTo>
                    <a:pt x="2361" y="16869"/>
                    <a:pt x="7373" y="18087"/>
                    <a:pt x="11164" y="18087"/>
                  </a:cubicBezTo>
                  <a:cubicBezTo>
                    <a:pt x="15610" y="18087"/>
                    <a:pt x="17038" y="17614"/>
                    <a:pt x="17676" y="16780"/>
                  </a:cubicBezTo>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17" name="Shape 43"/>
            <p:cNvSpPr/>
            <p:nvPr/>
          </p:nvSpPr>
          <p:spPr>
            <a:xfrm>
              <a:off x="508000" y="647700"/>
              <a:ext cx="221908" cy="13092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086" y="21600"/>
                  </a:lnTo>
                  <a:lnTo>
                    <a:pt x="19086" y="3518"/>
                  </a:lnTo>
                  <a:lnTo>
                    <a:pt x="12495" y="21600"/>
                  </a:lnTo>
                  <a:lnTo>
                    <a:pt x="9089" y="21600"/>
                  </a:lnTo>
                  <a:lnTo>
                    <a:pt x="2500" y="3518"/>
                  </a:lnTo>
                  <a:lnTo>
                    <a:pt x="2500" y="21600"/>
                  </a:lnTo>
                  <a:lnTo>
                    <a:pt x="0" y="21600"/>
                  </a:lnTo>
                  <a:lnTo>
                    <a:pt x="0" y="0"/>
                  </a:lnTo>
                  <a:lnTo>
                    <a:pt x="4105" y="0"/>
                  </a:lnTo>
                  <a:lnTo>
                    <a:pt x="10841" y="18637"/>
                  </a:lnTo>
                  <a:lnTo>
                    <a:pt x="17592" y="0"/>
                  </a:lnTo>
                  <a:lnTo>
                    <a:pt x="21600" y="0"/>
                  </a:lnTo>
                  <a:cubicBezTo>
                    <a:pt x="21600" y="0"/>
                    <a:pt x="21600" y="21600"/>
                    <a:pt x="21600" y="21600"/>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18" name="Shape 44"/>
            <p:cNvSpPr/>
            <p:nvPr/>
          </p:nvSpPr>
          <p:spPr>
            <a:xfrm>
              <a:off x="749300" y="647700"/>
              <a:ext cx="208090" cy="131674"/>
            </a:xfrm>
            <a:custGeom>
              <a:avLst/>
              <a:gdLst/>
              <a:ahLst/>
              <a:cxnLst>
                <a:cxn ang="0">
                  <a:pos x="wd2" y="hd2"/>
                </a:cxn>
                <a:cxn ang="5400000">
                  <a:pos x="wd2" y="hd2"/>
                </a:cxn>
                <a:cxn ang="10800000">
                  <a:pos x="wd2" y="hd2"/>
                </a:cxn>
                <a:cxn ang="16200000">
                  <a:pos x="wd2" y="hd2"/>
                </a:cxn>
              </a:cxnLst>
              <a:rect l="0" t="0" r="r" b="b"/>
              <a:pathLst>
                <a:path w="21600" h="21600" extrusionOk="0">
                  <a:moveTo>
                    <a:pt x="12716" y="0"/>
                  </a:moveTo>
                  <a:lnTo>
                    <a:pt x="21600" y="21600"/>
                  </a:lnTo>
                  <a:lnTo>
                    <a:pt x="18353" y="21600"/>
                  </a:lnTo>
                  <a:lnTo>
                    <a:pt x="16310" y="16538"/>
                  </a:lnTo>
                  <a:lnTo>
                    <a:pt x="5164" y="16538"/>
                  </a:lnTo>
                  <a:lnTo>
                    <a:pt x="3119" y="21600"/>
                  </a:lnTo>
                  <a:lnTo>
                    <a:pt x="0" y="21600"/>
                  </a:lnTo>
                  <a:lnTo>
                    <a:pt x="8885" y="0"/>
                  </a:lnTo>
                  <a:cubicBezTo>
                    <a:pt x="8885" y="0"/>
                    <a:pt x="12716" y="0"/>
                    <a:pt x="12716" y="0"/>
                  </a:cubicBezTo>
                  <a:close/>
                  <a:moveTo>
                    <a:pt x="6694" y="12733"/>
                  </a:moveTo>
                  <a:lnTo>
                    <a:pt x="14777" y="12733"/>
                  </a:lnTo>
                  <a:lnTo>
                    <a:pt x="10727" y="2700"/>
                  </a:lnTo>
                  <a:cubicBezTo>
                    <a:pt x="10727" y="2700"/>
                    <a:pt x="6694" y="12733"/>
                    <a:pt x="6694" y="12733"/>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19" name="Shape 45"/>
            <p:cNvSpPr/>
            <p:nvPr/>
          </p:nvSpPr>
          <p:spPr>
            <a:xfrm>
              <a:off x="914400" y="647700"/>
              <a:ext cx="21959" cy="29401"/>
            </a:xfrm>
            <a:custGeom>
              <a:avLst/>
              <a:gdLst/>
              <a:ahLst/>
              <a:cxnLst>
                <a:cxn ang="0">
                  <a:pos x="wd2" y="hd2"/>
                </a:cxn>
                <a:cxn ang="5400000">
                  <a:pos x="wd2" y="hd2"/>
                </a:cxn>
                <a:cxn ang="10800000">
                  <a:pos x="wd2" y="hd2"/>
                </a:cxn>
                <a:cxn ang="16200000">
                  <a:pos x="wd2" y="hd2"/>
                </a:cxn>
              </a:cxnLst>
              <a:rect l="0" t="0" r="r" b="b"/>
              <a:pathLst>
                <a:path w="21600" h="21600" extrusionOk="0">
                  <a:moveTo>
                    <a:pt x="8445" y="3517"/>
                  </a:moveTo>
                  <a:lnTo>
                    <a:pt x="0" y="3517"/>
                  </a:lnTo>
                  <a:lnTo>
                    <a:pt x="0" y="0"/>
                  </a:lnTo>
                  <a:lnTo>
                    <a:pt x="21600" y="0"/>
                  </a:lnTo>
                  <a:lnTo>
                    <a:pt x="21600" y="3517"/>
                  </a:lnTo>
                  <a:lnTo>
                    <a:pt x="13155" y="3517"/>
                  </a:lnTo>
                  <a:lnTo>
                    <a:pt x="13155" y="21600"/>
                  </a:lnTo>
                  <a:lnTo>
                    <a:pt x="8445" y="21600"/>
                  </a:lnTo>
                  <a:cubicBezTo>
                    <a:pt x="8445" y="21600"/>
                    <a:pt x="8445" y="3517"/>
                    <a:pt x="8445" y="3517"/>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20" name="Shape 46"/>
            <p:cNvSpPr/>
            <p:nvPr/>
          </p:nvSpPr>
          <p:spPr>
            <a:xfrm>
              <a:off x="939800" y="647700"/>
              <a:ext cx="26607" cy="29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114" y="0"/>
                  </a:lnTo>
                  <a:lnTo>
                    <a:pt x="10795" y="10217"/>
                  </a:lnTo>
                  <a:lnTo>
                    <a:pt x="17486" y="0"/>
                  </a:lnTo>
                  <a:lnTo>
                    <a:pt x="21600" y="0"/>
                  </a:lnTo>
                  <a:lnTo>
                    <a:pt x="21600" y="21600"/>
                  </a:lnTo>
                  <a:lnTo>
                    <a:pt x="17734" y="21600"/>
                  </a:lnTo>
                  <a:lnTo>
                    <a:pt x="17734" y="6111"/>
                  </a:lnTo>
                  <a:lnTo>
                    <a:pt x="10795" y="16300"/>
                  </a:lnTo>
                  <a:lnTo>
                    <a:pt x="10671" y="16300"/>
                  </a:lnTo>
                  <a:lnTo>
                    <a:pt x="3804" y="6168"/>
                  </a:lnTo>
                  <a:lnTo>
                    <a:pt x="3804" y="21600"/>
                  </a:lnTo>
                  <a:lnTo>
                    <a:pt x="0" y="21600"/>
                  </a:lnTo>
                  <a:cubicBezTo>
                    <a:pt x="0" y="21600"/>
                    <a:pt x="0" y="0"/>
                    <a:pt x="0" y="0"/>
                  </a:cubicBezTo>
                  <a:close/>
                </a:path>
              </a:pathLst>
            </a:custGeom>
            <a:solidFill>
              <a:srgbClr val="FFFFFF"/>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21" name="Shape 47"/>
            <p:cNvSpPr/>
            <p:nvPr/>
          </p:nvSpPr>
          <p:spPr>
            <a:xfrm>
              <a:off x="101600" y="469900"/>
              <a:ext cx="91237" cy="10762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cubicBezTo>
                    <a:pt x="21600" y="21600"/>
                    <a:pt x="21600" y="0"/>
                    <a:pt x="21600" y="0"/>
                  </a:cubicBezTo>
                  <a:close/>
                </a:path>
              </a:pathLst>
            </a:custGeom>
            <a:solidFill>
              <a:srgbClr val="951C00"/>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22" name="Shape 48"/>
            <p:cNvSpPr/>
            <p:nvPr/>
          </p:nvSpPr>
          <p:spPr>
            <a:xfrm>
              <a:off x="228600" y="419100"/>
              <a:ext cx="136830" cy="16139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cubicBezTo>
                    <a:pt x="21600" y="21600"/>
                    <a:pt x="21600" y="0"/>
                    <a:pt x="21600" y="0"/>
                  </a:cubicBezTo>
                  <a:close/>
                </a:path>
              </a:pathLst>
            </a:custGeom>
            <a:solidFill>
              <a:srgbClr val="BE2207"/>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23" name="Shape 49"/>
            <p:cNvSpPr/>
            <p:nvPr/>
          </p:nvSpPr>
          <p:spPr>
            <a:xfrm>
              <a:off x="406400" y="342900"/>
              <a:ext cx="205042" cy="24208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cubicBezTo>
                    <a:pt x="21600" y="21600"/>
                    <a:pt x="21600" y="0"/>
                    <a:pt x="21600" y="0"/>
                  </a:cubicBezTo>
                  <a:close/>
                </a:path>
              </a:pathLst>
            </a:custGeom>
            <a:solidFill>
              <a:srgbClr val="DD2312"/>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sp>
          <p:nvSpPr>
            <p:cNvPr id="24" name="Shape 50"/>
            <p:cNvSpPr/>
            <p:nvPr/>
          </p:nvSpPr>
          <p:spPr>
            <a:xfrm>
              <a:off x="647700" y="215900"/>
              <a:ext cx="303480" cy="36306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0" y="21600"/>
                  </a:lnTo>
                  <a:lnTo>
                    <a:pt x="21600" y="21600"/>
                  </a:lnTo>
                  <a:cubicBezTo>
                    <a:pt x="21600" y="21600"/>
                    <a:pt x="21600" y="0"/>
                    <a:pt x="21600" y="0"/>
                  </a:cubicBezTo>
                  <a:close/>
                </a:path>
              </a:pathLst>
            </a:custGeom>
            <a:solidFill>
              <a:srgbClr val="EB2416"/>
            </a:solidFill>
            <a:ln w="12700" cap="flat">
              <a:noFill/>
              <a:miter lim="400000"/>
            </a:ln>
            <a:effectLst/>
          </p:spPr>
          <p:txBody>
            <a:bodyPr wrap="square" lIns="38100" tIns="38100" rIns="38100" bIns="38100" numCol="1" anchor="ctr">
              <a:noAutofit/>
            </a:bodyPr>
            <a:lstStyle/>
            <a:p>
              <a:pPr marL="0" indent="0" algn="ctr" defTabSz="257175">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688" dirty="0"/>
            </a:p>
          </p:txBody>
        </p:sp>
      </p:grpSp>
    </p:spTree>
    <p:extLst>
      <p:ext uri="{BB962C8B-B14F-4D97-AF65-F5344CB8AC3E}">
        <p14:creationId xmlns:p14="http://schemas.microsoft.com/office/powerpoint/2010/main" val="490677755"/>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Lst>
  <p:hf hdr="0" ftr="0" dt="0"/>
  <p:txStyles>
    <p:titleStyle>
      <a:lvl1pPr algn="l" defTabSz="914411" rtl="0" eaLnBrk="1" latinLnBrk="0" hangingPunct="1">
        <a:spcBef>
          <a:spcPct val="0"/>
        </a:spcBef>
        <a:buNone/>
        <a:defRPr sz="2000" b="1" kern="1200">
          <a:solidFill>
            <a:schemeClr val="tx1"/>
          </a:solidFill>
          <a:latin typeface="Arial" panose="020B0604020202020204" pitchFamily="34" charset="0"/>
          <a:ea typeface="+mj-ea"/>
          <a:cs typeface="Arial" panose="020B0604020202020204" pitchFamily="34" charset="0"/>
        </a:defRPr>
      </a:lvl1pPr>
    </p:titleStyle>
    <p:bodyStyle>
      <a:lvl1pPr marL="342905" indent="-342905" algn="l" defTabSz="914411" rtl="0" eaLnBrk="1" latinLnBrk="0" hangingPunct="1">
        <a:spcBef>
          <a:spcPct val="20000"/>
        </a:spcBef>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60" indent="-285753" algn="l" defTabSz="914411" rtl="0" eaLnBrk="1" latinLnBrk="0" hangingPunct="1">
        <a:spcBef>
          <a:spcPct val="20000"/>
        </a:spcBef>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14" indent="-228603" algn="l" defTabSz="914411" rtl="0" eaLnBrk="1" latinLnBrk="0" hangingPunct="1">
        <a:spcBef>
          <a:spcPct val="20000"/>
        </a:spcBef>
        <a:buFont typeface="Arial" panose="020B0604020202020204" pitchFamily="34" charset="0"/>
        <a:buChar char="•"/>
        <a:defRPr sz="1600"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600220" indent="-228603" algn="l" defTabSz="914411"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4pPr>
      <a:lvl5pPr marL="2057426" indent="-228603" algn="l" defTabSz="914411"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5pPr>
      <a:lvl6pPr marL="2514632" indent="-228603" algn="l" defTabSz="91441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37" indent="-228603" algn="l" defTabSz="91441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43" indent="-228603" algn="l" defTabSz="91441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48" indent="-228603" algn="l" defTabSz="914411"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11" rtl="0" eaLnBrk="1" latinLnBrk="0" hangingPunct="1">
        <a:defRPr sz="1800" kern="1200">
          <a:solidFill>
            <a:schemeClr val="tx1"/>
          </a:solidFill>
          <a:latin typeface="+mn-lt"/>
          <a:ea typeface="+mn-ea"/>
          <a:cs typeface="+mn-cs"/>
        </a:defRPr>
      </a:lvl1pPr>
      <a:lvl2pPr marL="457206" algn="l" defTabSz="914411" rtl="0" eaLnBrk="1" latinLnBrk="0" hangingPunct="1">
        <a:defRPr sz="1800" kern="1200">
          <a:solidFill>
            <a:schemeClr val="tx1"/>
          </a:solidFill>
          <a:latin typeface="+mn-lt"/>
          <a:ea typeface="+mn-ea"/>
          <a:cs typeface="+mn-cs"/>
        </a:defRPr>
      </a:lvl2pPr>
      <a:lvl3pPr marL="914411" algn="l" defTabSz="914411" rtl="0" eaLnBrk="1" latinLnBrk="0" hangingPunct="1">
        <a:defRPr sz="1800" kern="1200">
          <a:solidFill>
            <a:schemeClr val="tx1"/>
          </a:solidFill>
          <a:latin typeface="+mn-lt"/>
          <a:ea typeface="+mn-ea"/>
          <a:cs typeface="+mn-cs"/>
        </a:defRPr>
      </a:lvl3pPr>
      <a:lvl4pPr marL="1371617" algn="l" defTabSz="914411" rtl="0" eaLnBrk="1" latinLnBrk="0" hangingPunct="1">
        <a:defRPr sz="1800" kern="1200">
          <a:solidFill>
            <a:schemeClr val="tx1"/>
          </a:solidFill>
          <a:latin typeface="+mn-lt"/>
          <a:ea typeface="+mn-ea"/>
          <a:cs typeface="+mn-cs"/>
        </a:defRPr>
      </a:lvl4pPr>
      <a:lvl5pPr marL="1828823" algn="l" defTabSz="914411" rtl="0" eaLnBrk="1" latinLnBrk="0" hangingPunct="1">
        <a:defRPr sz="1800" kern="1200">
          <a:solidFill>
            <a:schemeClr val="tx1"/>
          </a:solidFill>
          <a:latin typeface="+mn-lt"/>
          <a:ea typeface="+mn-ea"/>
          <a:cs typeface="+mn-cs"/>
        </a:defRPr>
      </a:lvl5pPr>
      <a:lvl6pPr marL="2286029" algn="l" defTabSz="914411" rtl="0" eaLnBrk="1" latinLnBrk="0" hangingPunct="1">
        <a:defRPr sz="1800" kern="1200">
          <a:solidFill>
            <a:schemeClr val="tx1"/>
          </a:solidFill>
          <a:latin typeface="+mn-lt"/>
          <a:ea typeface="+mn-ea"/>
          <a:cs typeface="+mn-cs"/>
        </a:defRPr>
      </a:lvl6pPr>
      <a:lvl7pPr marL="2743234" algn="l" defTabSz="914411" rtl="0" eaLnBrk="1" latinLnBrk="0" hangingPunct="1">
        <a:defRPr sz="1800" kern="1200">
          <a:solidFill>
            <a:schemeClr val="tx1"/>
          </a:solidFill>
          <a:latin typeface="+mn-lt"/>
          <a:ea typeface="+mn-ea"/>
          <a:cs typeface="+mn-cs"/>
        </a:defRPr>
      </a:lvl7pPr>
      <a:lvl8pPr marL="3200440" algn="l" defTabSz="914411" rtl="0" eaLnBrk="1" latinLnBrk="0" hangingPunct="1">
        <a:defRPr sz="1800" kern="1200">
          <a:solidFill>
            <a:schemeClr val="tx1"/>
          </a:solidFill>
          <a:latin typeface="+mn-lt"/>
          <a:ea typeface="+mn-ea"/>
          <a:cs typeface="+mn-cs"/>
        </a:defRPr>
      </a:lvl8pPr>
      <a:lvl9pPr marL="3657646" algn="l" defTabSz="914411"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713" name="think-cell Slide" r:id="rId16" imgW="216" imgH="216" progId="TCLayout.ActiveDocument.1">
                  <p:embed/>
                </p:oleObj>
              </mc:Choice>
              <mc:Fallback>
                <p:oleObj name="think-cell Slide" r:id="rId16" imgW="216" imgH="216" progId="TCLayout.ActiveDocument.1">
                  <p:embed/>
                  <p:pic>
                    <p:nvPicPr>
                      <p:cNvPr id="7" name="Object 6"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 name="Slide Number Placeholder 5"/>
          <p:cNvSpPr>
            <a:spLocks noGrp="1"/>
          </p:cNvSpPr>
          <p:nvPr>
            <p:ph type="sldNum" sz="quarter" idx="4"/>
          </p:nvPr>
        </p:nvSpPr>
        <p:spPr>
          <a:xfrm>
            <a:off x="420688" y="4826858"/>
            <a:ext cx="2133600" cy="273844"/>
          </a:xfrm>
          <a:prstGeom prst="rect">
            <a:avLst/>
          </a:prstGeom>
        </p:spPr>
        <p:txBody>
          <a:bodyPr vert="horz" lIns="91440" tIns="45720" rIns="91440" bIns="45720" rtlCol="0" anchor="ctr"/>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E52D2AFC-71C4-4511-B128-4ECEE52D3027}" type="slidenum">
              <a:rPr lang="en-ZA" smtClean="0"/>
              <a:pPr/>
              <a:t>‹#›</a:t>
            </a:fld>
            <a:endParaRPr lang="en-ZA" dirty="0"/>
          </a:p>
        </p:txBody>
      </p:sp>
      <p:grpSp>
        <p:nvGrpSpPr>
          <p:cNvPr id="6" name="Group 5"/>
          <p:cNvGrpSpPr/>
          <p:nvPr userDrawn="1"/>
        </p:nvGrpSpPr>
        <p:grpSpPr>
          <a:xfrm>
            <a:off x="428625" y="4711700"/>
            <a:ext cx="8272464" cy="71438"/>
            <a:chOff x="428625" y="4711700"/>
            <a:chExt cx="8272464" cy="71438"/>
          </a:xfrm>
        </p:grpSpPr>
        <p:sp>
          <p:nvSpPr>
            <p:cNvPr id="3" name="Rectangle 2"/>
            <p:cNvSpPr/>
            <p:nvPr/>
          </p:nvSpPr>
          <p:spPr>
            <a:xfrm>
              <a:off x="428625" y="4711700"/>
              <a:ext cx="2757488" cy="714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 name="Rectangle 3"/>
            <p:cNvSpPr/>
            <p:nvPr/>
          </p:nvSpPr>
          <p:spPr>
            <a:xfrm>
              <a:off x="3186113" y="4711700"/>
              <a:ext cx="2757488" cy="71438"/>
            </a:xfrm>
            <a:prstGeom prst="rect">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 name="Rectangle 4"/>
            <p:cNvSpPr/>
            <p:nvPr/>
          </p:nvSpPr>
          <p:spPr>
            <a:xfrm>
              <a:off x="5943601" y="4711700"/>
              <a:ext cx="2757488" cy="71438"/>
            </a:xfrm>
            <a:prstGeom prst="rect">
              <a:avLst/>
            </a:prstGeom>
            <a:solidFill>
              <a:srgbClr val="94BF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pSp>
      <p:pic>
        <p:nvPicPr>
          <p:cNvPr id="9" name="Picture 8"/>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386286" y="323040"/>
            <a:ext cx="930804" cy="438858"/>
          </a:xfrm>
          <a:prstGeom prst="rect">
            <a:avLst/>
          </a:prstGeom>
        </p:spPr>
      </p:pic>
    </p:spTree>
    <p:extLst>
      <p:ext uri="{BB962C8B-B14F-4D97-AF65-F5344CB8AC3E}">
        <p14:creationId xmlns:p14="http://schemas.microsoft.com/office/powerpoint/2010/main" val="677936576"/>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Lst>
  <p:timing>
    <p:tnLst>
      <p:par>
        <p:cTn id="1" dur="indefinite" restart="never" nodeType="tmRoot"/>
      </p:par>
    </p:tnLst>
  </p:timing>
  <p:hf hdr="0" ftr="0" dt="0"/>
  <p:txStyles>
    <p:titleStyle>
      <a:lvl1pPr algn="l" defTabSz="914400" rtl="0" eaLnBrk="1" latinLnBrk="0" hangingPunct="1">
        <a:spcBef>
          <a:spcPct val="0"/>
        </a:spcBef>
        <a:buNone/>
        <a:defRPr sz="2000" b="1" kern="1200">
          <a:solidFill>
            <a:schemeClr val="tx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50000"/>
              <a:lumOff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tags" Target="../tags/tag135.xml"/><Relationship Id="rId18" Type="http://schemas.openxmlformats.org/officeDocument/2006/relationships/tags" Target="../tags/tag140.xml"/><Relationship Id="rId26" Type="http://schemas.openxmlformats.org/officeDocument/2006/relationships/tags" Target="../tags/tag148.xml"/><Relationship Id="rId39" Type="http://schemas.openxmlformats.org/officeDocument/2006/relationships/chart" Target="../charts/chart5.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image" Target="../media/image19.emf"/><Relationship Id="rId7" Type="http://schemas.openxmlformats.org/officeDocument/2006/relationships/tags" Target="../tags/tag129.xml"/><Relationship Id="rId2" Type="http://schemas.openxmlformats.org/officeDocument/2006/relationships/tags" Target="../tags/tag124.xml"/><Relationship Id="rId16" Type="http://schemas.openxmlformats.org/officeDocument/2006/relationships/tags" Target="../tags/tag138.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chart" Target="../charts/chart7.xml"/><Relationship Id="rId1" Type="http://schemas.openxmlformats.org/officeDocument/2006/relationships/vmlDrawing" Target="../drawings/vmlDrawing32.vml"/><Relationship Id="rId6" Type="http://schemas.openxmlformats.org/officeDocument/2006/relationships/tags" Target="../tags/tag128.xml"/><Relationship Id="rId11" Type="http://schemas.openxmlformats.org/officeDocument/2006/relationships/tags" Target="../tags/tag133.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oleObject" Target="../embeddings/oleObject34.bin"/><Relationship Id="rId40" Type="http://schemas.openxmlformats.org/officeDocument/2006/relationships/chart" Target="../charts/chart6.xml"/><Relationship Id="rId5" Type="http://schemas.openxmlformats.org/officeDocument/2006/relationships/tags" Target="../tags/tag127.xml"/><Relationship Id="rId15" Type="http://schemas.openxmlformats.org/officeDocument/2006/relationships/tags" Target="../tags/tag137.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notesSlide" Target="../notesSlides/notesSlide2.xml"/><Relationship Id="rId10" Type="http://schemas.openxmlformats.org/officeDocument/2006/relationships/tags" Target="../tags/tag132.xml"/><Relationship Id="rId19" Type="http://schemas.openxmlformats.org/officeDocument/2006/relationships/tags" Target="../tags/tag141.xml"/><Relationship Id="rId31" Type="http://schemas.openxmlformats.org/officeDocument/2006/relationships/tags" Target="../tags/tag153.xml"/><Relationship Id="rId4" Type="http://schemas.openxmlformats.org/officeDocument/2006/relationships/tags" Target="../tags/tag126.xml"/><Relationship Id="rId9" Type="http://schemas.openxmlformats.org/officeDocument/2006/relationships/tags" Target="../tags/tag131.xml"/><Relationship Id="rId14" Type="http://schemas.openxmlformats.org/officeDocument/2006/relationships/tags" Target="../tags/tag136.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slideLayout" Target="../slideLayouts/slideLayout103.xml"/><Relationship Id="rId8" Type="http://schemas.openxmlformats.org/officeDocument/2006/relationships/tags" Target="../tags/tag130.xml"/><Relationship Id="rId3" Type="http://schemas.openxmlformats.org/officeDocument/2006/relationships/tags" Target="../tags/tag125.xml"/><Relationship Id="rId12" Type="http://schemas.openxmlformats.org/officeDocument/2006/relationships/tags" Target="../tags/tag134.xml"/><Relationship Id="rId17" Type="http://schemas.openxmlformats.org/officeDocument/2006/relationships/tags" Target="../tags/tag139.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image" Target="../media/image31.emf"/></Relationships>
</file>

<file path=ppt/slides/_rels/slide11.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158.xml"/><Relationship Id="rId7" Type="http://schemas.openxmlformats.org/officeDocument/2006/relationships/image" Target="../media/image31.emf"/><Relationship Id="rId2" Type="http://schemas.openxmlformats.org/officeDocument/2006/relationships/tags" Target="../tags/tag157.xml"/><Relationship Id="rId1" Type="http://schemas.openxmlformats.org/officeDocument/2006/relationships/vmlDrawing" Target="../drawings/vmlDrawing33.vml"/><Relationship Id="rId6" Type="http://schemas.openxmlformats.org/officeDocument/2006/relationships/oleObject" Target="../embeddings/oleObject35.bin"/><Relationship Id="rId5" Type="http://schemas.openxmlformats.org/officeDocument/2006/relationships/notesSlide" Target="../notesSlides/notesSlide3.xml"/><Relationship Id="rId4" Type="http://schemas.openxmlformats.org/officeDocument/2006/relationships/slideLayout" Target="../slideLayouts/slideLayout103.xml"/><Relationship Id="rId9" Type="http://schemas.openxmlformats.org/officeDocument/2006/relationships/image" Target="../media/image32.png"/></Relationships>
</file>

<file path=ppt/slides/_rels/slide1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60.xml"/><Relationship Id="rId7" Type="http://schemas.openxmlformats.org/officeDocument/2006/relationships/image" Target="../media/image33.jpeg"/><Relationship Id="rId2" Type="http://schemas.openxmlformats.org/officeDocument/2006/relationships/tags" Target="../tags/tag159.xml"/><Relationship Id="rId1" Type="http://schemas.openxmlformats.org/officeDocument/2006/relationships/vmlDrawing" Target="../drawings/vmlDrawing34.vml"/><Relationship Id="rId6" Type="http://schemas.openxmlformats.org/officeDocument/2006/relationships/image" Target="../media/image14.emf"/><Relationship Id="rId5" Type="http://schemas.openxmlformats.org/officeDocument/2006/relationships/oleObject" Target="../embeddings/oleObject36.bin"/><Relationship Id="rId10" Type="http://schemas.openxmlformats.org/officeDocument/2006/relationships/image" Target="../media/image19.emf"/><Relationship Id="rId4" Type="http://schemas.openxmlformats.org/officeDocument/2006/relationships/slideLayout" Target="../slideLayouts/slideLayout103.xml"/><Relationship Id="rId9" Type="http://schemas.openxmlformats.org/officeDocument/2006/relationships/image" Target="../media/image8.emf"/></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20.xml"/><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20.xml"/><Relationship Id="rId6" Type="http://schemas.openxmlformats.org/officeDocument/2006/relationships/image" Target="../media/image39.png"/><Relationship Id="rId5" Type="http://schemas.openxmlformats.org/officeDocument/2006/relationships/image" Target="../media/image19.emf"/><Relationship Id="rId4" Type="http://schemas.openxmlformats.org/officeDocument/2006/relationships/image" Target="../media/image38.jpeg"/></Relationships>
</file>

<file path=ppt/slides/_rels/slide15.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oleObject" Target="../embeddings/oleObject37.bin"/><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image" Target="../media/image36.png"/><Relationship Id="rId2" Type="http://schemas.openxmlformats.org/officeDocument/2006/relationships/tags" Target="../tags/tag161.xml"/><Relationship Id="rId1" Type="http://schemas.openxmlformats.org/officeDocument/2006/relationships/vmlDrawing" Target="../drawings/vmlDrawing35.vml"/><Relationship Id="rId6" Type="http://schemas.openxmlformats.org/officeDocument/2006/relationships/tags" Target="../tags/tag165.xml"/><Relationship Id="rId11" Type="http://schemas.openxmlformats.org/officeDocument/2006/relationships/image" Target="../media/image34.png"/><Relationship Id="rId5" Type="http://schemas.openxmlformats.org/officeDocument/2006/relationships/tags" Target="../tags/tag164.xml"/><Relationship Id="rId10" Type="http://schemas.openxmlformats.org/officeDocument/2006/relationships/slideLayout" Target="../slideLayouts/slideLayout120.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image" Target="../media/image40.emf"/></Relationships>
</file>

<file path=ppt/slides/_rels/slide16.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96.xml"/></Relationships>
</file>

<file path=ppt/slides/_rels/slide2.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28.xml"/><Relationship Id="rId7" Type="http://schemas.openxmlformats.org/officeDocument/2006/relationships/image" Target="../media/image18.pn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4.emf"/><Relationship Id="rId5" Type="http://schemas.openxmlformats.org/officeDocument/2006/relationships/oleObject" Target="../embeddings/oleObject26.bin"/><Relationship Id="rId4" Type="http://schemas.openxmlformats.org/officeDocument/2006/relationships/slideLayout" Target="../slideLayouts/slideLayout103.xml"/></Relationships>
</file>

<file path=ppt/slides/_rels/slide3.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30.xml"/><Relationship Id="rId7" Type="http://schemas.openxmlformats.org/officeDocument/2006/relationships/image" Target="../media/image20.png"/><Relationship Id="rId2" Type="http://schemas.openxmlformats.org/officeDocument/2006/relationships/tags" Target="../tags/tag29.xml"/><Relationship Id="rId1" Type="http://schemas.openxmlformats.org/officeDocument/2006/relationships/vmlDrawing" Target="../drawings/vmlDrawing27.vml"/><Relationship Id="rId6" Type="http://schemas.openxmlformats.org/officeDocument/2006/relationships/image" Target="../media/image14.emf"/><Relationship Id="rId5" Type="http://schemas.openxmlformats.org/officeDocument/2006/relationships/oleObject" Target="../embeddings/oleObject27.bin"/><Relationship Id="rId4" Type="http://schemas.openxmlformats.org/officeDocument/2006/relationships/slideLayout" Target="../slideLayouts/slideLayout103.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32.xml"/><Relationship Id="rId7" Type="http://schemas.openxmlformats.org/officeDocument/2006/relationships/image" Target="../media/image21.png"/><Relationship Id="rId2" Type="http://schemas.openxmlformats.org/officeDocument/2006/relationships/tags" Target="../tags/tag31.xml"/><Relationship Id="rId1" Type="http://schemas.openxmlformats.org/officeDocument/2006/relationships/vmlDrawing" Target="../drawings/vmlDrawing28.vml"/><Relationship Id="rId6" Type="http://schemas.openxmlformats.org/officeDocument/2006/relationships/image" Target="../media/image14.emf"/><Relationship Id="rId5" Type="http://schemas.openxmlformats.org/officeDocument/2006/relationships/oleObject" Target="../embeddings/oleObject28.bin"/><Relationship Id="rId4" Type="http://schemas.openxmlformats.org/officeDocument/2006/relationships/slideLayout" Target="../slideLayouts/slideLayout103.xml"/><Relationship Id="rId9" Type="http://schemas.openxmlformats.org/officeDocument/2006/relationships/image" Target="../media/image19.emf"/></Relationships>
</file>

<file path=ppt/slides/_rels/slide5.xml.rels><?xml version="1.0" encoding="UTF-8" standalone="yes"?>
<Relationships xmlns="http://schemas.openxmlformats.org/package/2006/relationships"><Relationship Id="rId13" Type="http://schemas.openxmlformats.org/officeDocument/2006/relationships/tags" Target="../tags/tag44.xml"/><Relationship Id="rId18" Type="http://schemas.openxmlformats.org/officeDocument/2006/relationships/tags" Target="../tags/tag49.xml"/><Relationship Id="rId26" Type="http://schemas.openxmlformats.org/officeDocument/2006/relationships/tags" Target="../tags/tag57.xml"/><Relationship Id="rId39" Type="http://schemas.openxmlformats.org/officeDocument/2006/relationships/image" Target="../media/image24.png"/><Relationship Id="rId21" Type="http://schemas.openxmlformats.org/officeDocument/2006/relationships/tags" Target="../tags/tag52.xml"/><Relationship Id="rId34" Type="http://schemas.openxmlformats.org/officeDocument/2006/relationships/notesSlide" Target="../notesSlides/notesSlide1.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tags" Target="../tags/tag56.xml"/><Relationship Id="rId33" Type="http://schemas.openxmlformats.org/officeDocument/2006/relationships/slideLayout" Target="../slideLayouts/slideLayout103.xml"/><Relationship Id="rId38" Type="http://schemas.openxmlformats.org/officeDocument/2006/relationships/image" Target="../media/image23.emf"/><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tags" Target="../tags/tag51.xml"/><Relationship Id="rId29" Type="http://schemas.openxmlformats.org/officeDocument/2006/relationships/tags" Target="../tags/tag60.xml"/><Relationship Id="rId1" Type="http://schemas.openxmlformats.org/officeDocument/2006/relationships/vmlDrawing" Target="../drawings/vmlDrawing29.v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tags" Target="../tags/tag55.xml"/><Relationship Id="rId32" Type="http://schemas.openxmlformats.org/officeDocument/2006/relationships/tags" Target="../tags/tag63.xml"/><Relationship Id="rId37" Type="http://schemas.openxmlformats.org/officeDocument/2006/relationships/oleObject" Target="../embeddings/oleObject30.bin"/><Relationship Id="rId40" Type="http://schemas.openxmlformats.org/officeDocument/2006/relationships/image" Target="../media/image19.emf"/><Relationship Id="rId5" Type="http://schemas.openxmlformats.org/officeDocument/2006/relationships/tags" Target="../tags/tag36.xml"/><Relationship Id="rId15" Type="http://schemas.openxmlformats.org/officeDocument/2006/relationships/tags" Target="../tags/tag46.xml"/><Relationship Id="rId23" Type="http://schemas.openxmlformats.org/officeDocument/2006/relationships/tags" Target="../tags/tag54.xml"/><Relationship Id="rId28" Type="http://schemas.openxmlformats.org/officeDocument/2006/relationships/tags" Target="../tags/tag59.xml"/><Relationship Id="rId36" Type="http://schemas.openxmlformats.org/officeDocument/2006/relationships/image" Target="../media/image14.emf"/><Relationship Id="rId10" Type="http://schemas.openxmlformats.org/officeDocument/2006/relationships/tags" Target="../tags/tag41.xml"/><Relationship Id="rId19" Type="http://schemas.openxmlformats.org/officeDocument/2006/relationships/tags" Target="../tags/tag50.xml"/><Relationship Id="rId31" Type="http://schemas.openxmlformats.org/officeDocument/2006/relationships/tags" Target="../tags/tag62.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tags" Target="../tags/tag53.xml"/><Relationship Id="rId27" Type="http://schemas.openxmlformats.org/officeDocument/2006/relationships/tags" Target="../tags/tag58.xml"/><Relationship Id="rId30" Type="http://schemas.openxmlformats.org/officeDocument/2006/relationships/tags" Target="../tags/tag61.xml"/><Relationship Id="rId35" Type="http://schemas.openxmlformats.org/officeDocument/2006/relationships/oleObject" Target="../embeddings/oleObject29.bin"/><Relationship Id="rId8" Type="http://schemas.openxmlformats.org/officeDocument/2006/relationships/tags" Target="../tags/tag39.xml"/><Relationship Id="rId3" Type="http://schemas.openxmlformats.org/officeDocument/2006/relationships/tags" Target="../tags/tag34.xml"/></Relationships>
</file>

<file path=ppt/slides/_rels/slide6.xml.rels><?xml version="1.0" encoding="UTF-8" standalone="yes"?>
<Relationships xmlns="http://schemas.openxmlformats.org/package/2006/relationships"><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9" Type="http://schemas.openxmlformats.org/officeDocument/2006/relationships/image" Target="../media/image14.emf"/><Relationship Id="rId21" Type="http://schemas.openxmlformats.org/officeDocument/2006/relationships/tags" Target="../tags/tag83.xml"/><Relationship Id="rId34" Type="http://schemas.openxmlformats.org/officeDocument/2006/relationships/tags" Target="../tags/tag96.xml"/><Relationship Id="rId42" Type="http://schemas.openxmlformats.org/officeDocument/2006/relationships/image" Target="../media/image19.emf"/><Relationship Id="rId7" Type="http://schemas.openxmlformats.org/officeDocument/2006/relationships/tags" Target="../tags/tag69.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tags" Target="../tags/tag91.xml"/><Relationship Id="rId41" Type="http://schemas.openxmlformats.org/officeDocument/2006/relationships/image" Target="../media/image25.emf"/><Relationship Id="rId1" Type="http://schemas.openxmlformats.org/officeDocument/2006/relationships/vmlDrawing" Target="../drawings/vmlDrawing30.v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tags" Target="../tags/tag94.xml"/><Relationship Id="rId37" Type="http://schemas.openxmlformats.org/officeDocument/2006/relationships/image" Target="../media/image26.png"/><Relationship Id="rId40" Type="http://schemas.openxmlformats.org/officeDocument/2006/relationships/oleObject" Target="../embeddings/oleObject32.bin"/><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slideLayout" Target="../slideLayouts/slideLayout103.xml"/><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tags" Target="../tags/tag93.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tags" Target="../tags/tag92.xml"/><Relationship Id="rId35" Type="http://schemas.openxmlformats.org/officeDocument/2006/relationships/tags" Target="../tags/tag97.xml"/><Relationship Id="rId8" Type="http://schemas.openxmlformats.org/officeDocument/2006/relationships/tags" Target="../tags/tag70.xml"/><Relationship Id="rId3" Type="http://schemas.openxmlformats.org/officeDocument/2006/relationships/tags" Target="../tags/tag65.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tags" Target="../tags/tag95.xml"/><Relationship Id="rId38" Type="http://schemas.openxmlformats.org/officeDocument/2006/relationships/oleObject" Target="../embeddings/oleObject31.bin"/></Relationships>
</file>

<file path=ppt/slides/_rels/slide7.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99.xml"/><Relationship Id="rId7" Type="http://schemas.openxmlformats.org/officeDocument/2006/relationships/image" Target="../media/image14.emf"/><Relationship Id="rId2" Type="http://schemas.openxmlformats.org/officeDocument/2006/relationships/tags" Target="../tags/tag98.xml"/><Relationship Id="rId1" Type="http://schemas.openxmlformats.org/officeDocument/2006/relationships/vmlDrawing" Target="../drawings/vmlDrawing31.vml"/><Relationship Id="rId6" Type="http://schemas.openxmlformats.org/officeDocument/2006/relationships/oleObject" Target="../embeddings/oleObject33.bin"/><Relationship Id="rId5" Type="http://schemas.openxmlformats.org/officeDocument/2006/relationships/image" Target="../media/image27.png"/><Relationship Id="rId4" Type="http://schemas.openxmlformats.org/officeDocument/2006/relationships/slideLayout" Target="../slideLayouts/slideLayout103.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03.xml"/><Relationship Id="rId5" Type="http://schemas.openxmlformats.org/officeDocument/2006/relationships/image" Target="../media/image19.emf"/><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tags" Target="../tags/tag112.xml"/><Relationship Id="rId18" Type="http://schemas.openxmlformats.org/officeDocument/2006/relationships/tags" Target="../tags/tag117.xml"/><Relationship Id="rId26" Type="http://schemas.openxmlformats.org/officeDocument/2006/relationships/chart" Target="../charts/chart1.xml"/><Relationship Id="rId3" Type="http://schemas.openxmlformats.org/officeDocument/2006/relationships/tags" Target="../tags/tag102.xml"/><Relationship Id="rId21" Type="http://schemas.openxmlformats.org/officeDocument/2006/relationships/tags" Target="../tags/tag120.xml"/><Relationship Id="rId7" Type="http://schemas.openxmlformats.org/officeDocument/2006/relationships/tags" Target="../tags/tag106.xml"/><Relationship Id="rId12" Type="http://schemas.openxmlformats.org/officeDocument/2006/relationships/tags" Target="../tags/tag111.xml"/><Relationship Id="rId17" Type="http://schemas.openxmlformats.org/officeDocument/2006/relationships/tags" Target="../tags/tag116.xml"/><Relationship Id="rId25" Type="http://schemas.openxmlformats.org/officeDocument/2006/relationships/slideLayout" Target="../slideLayouts/slideLayout103.xml"/><Relationship Id="rId2" Type="http://schemas.openxmlformats.org/officeDocument/2006/relationships/tags" Target="../tags/tag101.xml"/><Relationship Id="rId16" Type="http://schemas.openxmlformats.org/officeDocument/2006/relationships/tags" Target="../tags/tag115.xml"/><Relationship Id="rId20" Type="http://schemas.openxmlformats.org/officeDocument/2006/relationships/tags" Target="../tags/tag119.xml"/><Relationship Id="rId29" Type="http://schemas.openxmlformats.org/officeDocument/2006/relationships/chart" Target="../charts/chart4.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tags" Target="../tags/tag110.xml"/><Relationship Id="rId24" Type="http://schemas.openxmlformats.org/officeDocument/2006/relationships/tags" Target="../tags/tag123.xml"/><Relationship Id="rId5" Type="http://schemas.openxmlformats.org/officeDocument/2006/relationships/tags" Target="../tags/tag104.xml"/><Relationship Id="rId15" Type="http://schemas.openxmlformats.org/officeDocument/2006/relationships/tags" Target="../tags/tag114.xml"/><Relationship Id="rId23" Type="http://schemas.openxmlformats.org/officeDocument/2006/relationships/tags" Target="../tags/tag122.xml"/><Relationship Id="rId28" Type="http://schemas.openxmlformats.org/officeDocument/2006/relationships/chart" Target="../charts/chart3.xml"/><Relationship Id="rId10" Type="http://schemas.openxmlformats.org/officeDocument/2006/relationships/tags" Target="../tags/tag109.xml"/><Relationship Id="rId19" Type="http://schemas.openxmlformats.org/officeDocument/2006/relationships/tags" Target="../tags/tag118.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 Id="rId22" Type="http://schemas.openxmlformats.org/officeDocument/2006/relationships/tags" Target="../tags/tag121.xml"/><Relationship Id="rId27" Type="http://schemas.openxmlformats.org/officeDocument/2006/relationships/chart" Target="../charts/chart2.xml"/><Relationship Id="rId30"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2177" y="2465816"/>
            <a:ext cx="7568058" cy="1918584"/>
          </a:xfrm>
        </p:spPr>
        <p:txBody>
          <a:bodyPr/>
          <a:lstStyle/>
          <a:p>
            <a:pPr>
              <a:spcBef>
                <a:spcPts val="1200"/>
              </a:spcBef>
            </a:pPr>
            <a:r>
              <a:rPr lang="en-US" dirty="0" smtClean="0"/>
              <a:t>State of the Mobile Money Industry in Sub-Saharan Africa</a:t>
            </a:r>
            <a:endParaRPr lang="en-US" dirty="0"/>
          </a:p>
        </p:txBody>
      </p:sp>
      <p:sp>
        <p:nvSpPr>
          <p:cNvPr id="3" name="Text Placeholder 2"/>
          <p:cNvSpPr>
            <a:spLocks noGrp="1"/>
          </p:cNvSpPr>
          <p:nvPr>
            <p:ph type="body" sz="quarter" idx="11"/>
          </p:nvPr>
        </p:nvSpPr>
        <p:spPr>
          <a:xfrm>
            <a:off x="372177" y="4104565"/>
            <a:ext cx="1092481" cy="502478"/>
          </a:xfrm>
        </p:spPr>
        <p:txBody>
          <a:bodyPr/>
          <a:lstStyle/>
          <a:p>
            <a:r>
              <a:rPr lang="is-IS" dirty="0" smtClean="0"/>
              <a:t>2018</a:t>
            </a:r>
            <a:endParaRPr lang="en-US" dirty="0"/>
          </a:p>
        </p:txBody>
      </p:sp>
    </p:spTree>
    <p:extLst>
      <p:ext uri="{BB962C8B-B14F-4D97-AF65-F5344CB8AC3E}">
        <p14:creationId xmlns:p14="http://schemas.microsoft.com/office/powerpoint/2010/main" val="50280055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041528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983" name="think-cell Slide" r:id="rId37" imgW="416" imgH="416" progId="TCLayout.ActiveDocument.1">
                  <p:embed/>
                </p:oleObj>
              </mc:Choice>
              <mc:Fallback>
                <p:oleObj name="think-cell Slide" r:id="rId37" imgW="416" imgH="416" progId="TCLayout.ActiveDocument.1">
                  <p:embed/>
                  <p:pic>
                    <p:nvPicPr>
                      <p:cNvPr id="7" name="Object 6" hidden="1"/>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700" dirty="0">
              <a:latin typeface="Calibri" panose="020F0502020204030204" pitchFamily="34" charset="0"/>
              <a:sym typeface="Calibri" panose="020F0502020204030204" pitchFamily="34" charset="0"/>
            </a:endParaRPr>
          </a:p>
        </p:txBody>
      </p:sp>
      <p:sp>
        <p:nvSpPr>
          <p:cNvPr id="16" name="Rounded Rectangle 15"/>
          <p:cNvSpPr/>
          <p:nvPr/>
        </p:nvSpPr>
        <p:spPr>
          <a:xfrm>
            <a:off x="4877874" y="1810781"/>
            <a:ext cx="885202" cy="2859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Title 3"/>
          <p:cNvSpPr txBox="1">
            <a:spLocks/>
          </p:cNvSpPr>
          <p:nvPr/>
        </p:nvSpPr>
        <p:spPr>
          <a:xfrm>
            <a:off x="807181" y="252792"/>
            <a:ext cx="8270138" cy="432049"/>
          </a:xfrm>
          <a:prstGeom prst="rect">
            <a:avLst/>
          </a:prstGeom>
        </p:spPr>
        <p:txBody>
          <a:bodyPr vert="horz" lIns="91440" tIns="45720" rIns="91440" bIns="45720" rtlCol="0" anchor="t" anchorCtr="0">
            <a:noAutofit/>
          </a:bodyPr>
          <a:lstStyle>
            <a:lvl1pPr algn="l" defTabSz="685800" rtl="0" eaLnBrk="1" latinLnBrk="0" hangingPunct="1">
              <a:spcBef>
                <a:spcPct val="0"/>
              </a:spcBef>
              <a:buNone/>
              <a:defRPr sz="1700" b="1" i="0" kern="1200">
                <a:solidFill>
                  <a:srgbClr val="00ACD4"/>
                </a:solidFill>
                <a:latin typeface="Arial" charset="0"/>
                <a:ea typeface="Arial" charset="0"/>
                <a:cs typeface="Arial" charset="0"/>
              </a:defRPr>
            </a:lvl1pPr>
          </a:lstStyle>
          <a:p>
            <a:r>
              <a:rPr lang="en-GB" sz="1800" dirty="0"/>
              <a:t>The digitisation of payments </a:t>
            </a:r>
            <a:r>
              <a:rPr lang="en-GB" sz="1800" dirty="0" smtClean="0"/>
              <a:t>reached </a:t>
            </a:r>
            <a:r>
              <a:rPr lang="en-GB" sz="1800" dirty="0"/>
              <a:t>new heights across Sub-Saharan Africa in </a:t>
            </a:r>
            <a:r>
              <a:rPr lang="en-GB" sz="1800" dirty="0" smtClean="0"/>
              <a:t>2018. </a:t>
            </a:r>
            <a:endParaRPr lang="en-GB" sz="1800" dirty="0"/>
          </a:p>
        </p:txBody>
      </p:sp>
      <p:graphicFrame>
        <p:nvGraphicFramePr>
          <p:cNvPr id="69" name="Chart 68"/>
          <p:cNvGraphicFramePr/>
          <p:nvPr>
            <p:custDataLst>
              <p:tags r:id="rId4"/>
            </p:custDataLst>
            <p:extLst>
              <p:ext uri="{D42A27DB-BD31-4B8C-83A1-F6EECF244321}">
                <p14:modId xmlns:p14="http://schemas.microsoft.com/office/powerpoint/2010/main" val="2677004977"/>
              </p:ext>
            </p:extLst>
          </p:nvPr>
        </p:nvGraphicFramePr>
        <p:xfrm>
          <a:off x="822325" y="1993515"/>
          <a:ext cx="2443163" cy="1978025"/>
        </p:xfrm>
        <a:graphic>
          <a:graphicData uri="http://schemas.openxmlformats.org/drawingml/2006/chart">
            <c:chart xmlns:c="http://schemas.openxmlformats.org/drawingml/2006/chart" xmlns:r="http://schemas.openxmlformats.org/officeDocument/2006/relationships" r:id="rId39"/>
          </a:graphicData>
        </a:graphic>
      </p:graphicFrame>
      <p:sp>
        <p:nvSpPr>
          <p:cNvPr id="8" name="Rectangle 7"/>
          <p:cNvSpPr/>
          <p:nvPr>
            <p:custDataLst>
              <p:tags r:id="rId5"/>
            </p:custDataLst>
          </p:nvPr>
        </p:nvSpPr>
        <p:spPr bwMode="gray">
          <a:xfrm>
            <a:off x="1949450" y="2222043"/>
            <a:ext cx="268288" cy="192088"/>
          </a:xfrm>
          <a:prstGeom prst="rect">
            <a:avLst/>
          </a:prstGeom>
          <a:solidFill>
            <a:srgbClr val="364D6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lnSpc>
                <a:spcPct val="90000"/>
              </a:lnSpc>
              <a:spcBef>
                <a:spcPct val="0"/>
              </a:spcBef>
              <a:spcAft>
                <a:spcPct val="0"/>
              </a:spcAft>
            </a:pPr>
            <a:fld id="{1735B645-0B63-4607-A695-E4D034D8C599}" type="datetime'''''''''''''''''2''''''''''''''''''''%'''''''''">
              <a:rPr lang="en-GB" altLang="en-US" sz="1400" smtClean="0">
                <a:solidFill>
                  <a:schemeClr val="bg1"/>
                </a:solidFill>
                <a:sym typeface="+mn-lt"/>
              </a:rPr>
              <a:pPr algn="ctr">
                <a:lnSpc>
                  <a:spcPct val="90000"/>
                </a:lnSpc>
                <a:spcBef>
                  <a:spcPct val="0"/>
                </a:spcBef>
                <a:spcAft>
                  <a:spcPct val="0"/>
                </a:spcAft>
              </a:pPr>
              <a:t>2%</a:t>
            </a:fld>
            <a:endParaRPr lang="en-GB" sz="1400">
              <a:solidFill>
                <a:schemeClr val="bg1"/>
              </a:solidFill>
              <a:sym typeface="+mn-lt"/>
            </a:endParaRPr>
          </a:p>
        </p:txBody>
      </p:sp>
      <p:sp>
        <p:nvSpPr>
          <p:cNvPr id="9" name="Rectangle 8"/>
          <p:cNvSpPr/>
          <p:nvPr>
            <p:custDataLst>
              <p:tags r:id="rId6"/>
            </p:custDataLst>
          </p:nvPr>
        </p:nvSpPr>
        <p:spPr bwMode="auto">
          <a:xfrm>
            <a:off x="1016000" y="4225468"/>
            <a:ext cx="142875" cy="106363"/>
          </a:xfrm>
          <a:prstGeom prst="rect">
            <a:avLst/>
          </a:prstGeom>
          <a:solidFill>
            <a:srgbClr val="009DCC"/>
          </a:solidFill>
          <a:ln w="25400" cap="flat"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p:custDataLst>
              <p:tags r:id="rId7"/>
            </p:custDataLst>
          </p:nvPr>
        </p:nvSpPr>
        <p:spPr bwMode="auto">
          <a:xfrm>
            <a:off x="2366963" y="4225468"/>
            <a:ext cx="142875" cy="106363"/>
          </a:xfrm>
          <a:prstGeom prst="rect">
            <a:avLst/>
          </a:prstGeom>
          <a:solidFill>
            <a:srgbClr val="FBBB21"/>
          </a:solidFill>
          <a:ln w="25400" cap="flat"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custDataLst>
              <p:tags r:id="rId8"/>
            </p:custDataLst>
          </p:nvPr>
        </p:nvSpPr>
        <p:spPr bwMode="auto">
          <a:xfrm>
            <a:off x="1016000" y="4398505"/>
            <a:ext cx="142875" cy="106363"/>
          </a:xfrm>
          <a:prstGeom prst="rect">
            <a:avLst/>
          </a:prstGeom>
          <a:solidFill>
            <a:srgbClr val="193C6C"/>
          </a:solidFill>
          <a:ln w="25400" cap="flat"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p:cNvSpPr/>
          <p:nvPr>
            <p:custDataLst>
              <p:tags r:id="rId9"/>
            </p:custDataLst>
          </p:nvPr>
        </p:nvSpPr>
        <p:spPr bwMode="auto">
          <a:xfrm>
            <a:off x="2366963" y="4398505"/>
            <a:ext cx="142875" cy="106363"/>
          </a:xfrm>
          <a:prstGeom prst="rect">
            <a:avLst/>
          </a:prstGeom>
          <a:solidFill>
            <a:srgbClr val="898DAD"/>
          </a:solidFill>
          <a:ln w="25400" cap="flat"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p:custDataLst>
              <p:tags r:id="rId10"/>
            </p:custDataLst>
          </p:nvPr>
        </p:nvSpPr>
        <p:spPr bwMode="auto">
          <a:xfrm>
            <a:off x="1209675" y="4220705"/>
            <a:ext cx="1055688"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C13EACAF-72E5-42B3-93C5-C719C7023256}" type="datetime'''''''Interna''''tional r''e''''''mit''t''''''an''c''''es'''">
              <a:rPr lang="en-GB" altLang="en-US" sz="800" smtClean="0">
                <a:solidFill>
                  <a:schemeClr val="tx1"/>
                </a:solidFill>
                <a:latin typeface="Arial" panose="020B0604020202020204" pitchFamily="34" charset="0"/>
                <a:cs typeface="Arial" panose="020B0604020202020204" pitchFamily="34" charset="0"/>
                <a:sym typeface="+mn-lt"/>
              </a:rPr>
              <a:pPr>
                <a:spcBef>
                  <a:spcPct val="0"/>
                </a:spcBef>
                <a:spcAft>
                  <a:spcPct val="0"/>
                </a:spcAft>
              </a:pPr>
              <a:t>International remittances</a:t>
            </a:fld>
            <a:endParaRPr lang="en-GB" sz="1400" dirty="0">
              <a:solidFill>
                <a:schemeClr val="tx1"/>
              </a:solidFill>
              <a:latin typeface="Arial" panose="020B0604020202020204" pitchFamily="34" charset="0"/>
              <a:cs typeface="Arial" panose="020B0604020202020204" pitchFamily="34" charset="0"/>
              <a:sym typeface="+mn-lt"/>
            </a:endParaRPr>
          </a:p>
        </p:txBody>
      </p:sp>
      <p:sp>
        <p:nvSpPr>
          <p:cNvPr id="6" name="Rectangle 5"/>
          <p:cNvSpPr/>
          <p:nvPr>
            <p:custDataLst>
              <p:tags r:id="rId11"/>
            </p:custDataLst>
          </p:nvPr>
        </p:nvSpPr>
        <p:spPr bwMode="auto">
          <a:xfrm>
            <a:off x="2560638" y="4220705"/>
            <a:ext cx="642938"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24B7347-3920-4020-98B1-FF1F0C95123F}" type="datetime'''''''''''''''''''Ba''n''''''k''''-''t''o''-''mo''bil''e'''''">
              <a:rPr lang="en-GB" altLang="en-US" sz="800" smtClean="0">
                <a:solidFill>
                  <a:schemeClr val="tx1"/>
                </a:solidFill>
                <a:latin typeface="Arial" panose="020B0604020202020204" pitchFamily="34" charset="0"/>
                <a:cs typeface="Arial" panose="020B0604020202020204" pitchFamily="34" charset="0"/>
              </a:rPr>
              <a:pPr>
                <a:spcBef>
                  <a:spcPct val="0"/>
                </a:spcBef>
                <a:spcAft>
                  <a:spcPct val="0"/>
                </a:spcAft>
              </a:pPr>
              <a:t>Bank-to-mobile</a:t>
            </a:fld>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5" name="Rectangle 4"/>
          <p:cNvSpPr/>
          <p:nvPr>
            <p:custDataLst>
              <p:tags r:id="rId12"/>
            </p:custDataLst>
          </p:nvPr>
        </p:nvSpPr>
        <p:spPr bwMode="auto">
          <a:xfrm>
            <a:off x="1209675" y="4393743"/>
            <a:ext cx="811213"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FA41CB87-742C-4EAB-9109-510661124A5D}" type="datetime'''B''u''''l''k'' ''di''s''''''''bu''''rse''''men''t''''s'''">
              <a:rPr lang="en-GB" altLang="en-US" sz="800" smtClean="0">
                <a:solidFill>
                  <a:schemeClr val="tx1"/>
                </a:solidFill>
                <a:latin typeface="Arial" panose="020B0604020202020204" pitchFamily="34" charset="0"/>
                <a:cs typeface="Arial" panose="020B0604020202020204" pitchFamily="34" charset="0"/>
                <a:sym typeface="+mn-lt"/>
              </a:rPr>
              <a:pPr>
                <a:spcBef>
                  <a:spcPct val="0"/>
                </a:spcBef>
                <a:spcAft>
                  <a:spcPct val="0"/>
                </a:spcAft>
              </a:pPr>
              <a:t>Bulk disbursements</a:t>
            </a:fld>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20" name="Rectangle 19"/>
          <p:cNvSpPr/>
          <p:nvPr>
            <p:custDataLst>
              <p:tags r:id="rId13"/>
            </p:custDataLst>
          </p:nvPr>
        </p:nvSpPr>
        <p:spPr bwMode="auto">
          <a:xfrm>
            <a:off x="2560638" y="4393743"/>
            <a:ext cx="295275"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r>
              <a:rPr lang="en-GB" sz="800" dirty="0" smtClean="0">
                <a:solidFill>
                  <a:schemeClr val="tx1"/>
                </a:solidFill>
                <a:latin typeface="Arial" panose="020B0604020202020204" pitchFamily="34" charset="0"/>
                <a:cs typeface="Arial" panose="020B0604020202020204" pitchFamily="34" charset="0"/>
                <a:sym typeface="+mn-lt"/>
              </a:rPr>
              <a:t>Cash-in</a:t>
            </a:r>
            <a:endParaRPr lang="en-GB" sz="800" dirty="0">
              <a:solidFill>
                <a:schemeClr val="tx1"/>
              </a:solidFill>
              <a:latin typeface="Arial" panose="020B0604020202020204" pitchFamily="34" charset="0"/>
              <a:cs typeface="Arial" panose="020B0604020202020204" pitchFamily="34" charset="0"/>
              <a:sym typeface="+mn-lt"/>
            </a:endParaRPr>
          </a:p>
        </p:txBody>
      </p:sp>
      <p:graphicFrame>
        <p:nvGraphicFramePr>
          <p:cNvPr id="70" name="Chart 69"/>
          <p:cNvGraphicFramePr/>
          <p:nvPr>
            <p:custDataLst>
              <p:tags r:id="rId14"/>
            </p:custDataLst>
            <p:extLst>
              <p:ext uri="{D42A27DB-BD31-4B8C-83A1-F6EECF244321}">
                <p14:modId xmlns:p14="http://schemas.microsoft.com/office/powerpoint/2010/main" val="3336826389"/>
              </p:ext>
            </p:extLst>
          </p:nvPr>
        </p:nvGraphicFramePr>
        <p:xfrm>
          <a:off x="3422650" y="1977640"/>
          <a:ext cx="2443163" cy="1978025"/>
        </p:xfrm>
        <a:graphic>
          <a:graphicData uri="http://schemas.openxmlformats.org/drawingml/2006/chart">
            <c:chart xmlns:c="http://schemas.openxmlformats.org/drawingml/2006/chart" xmlns:r="http://schemas.openxmlformats.org/officeDocument/2006/relationships" r:id="rId40"/>
          </a:graphicData>
        </a:graphic>
      </p:graphicFrame>
      <p:sp>
        <p:nvSpPr>
          <p:cNvPr id="61" name="Rectangle 60"/>
          <p:cNvSpPr/>
          <p:nvPr>
            <p:custDataLst>
              <p:tags r:id="rId15"/>
            </p:custDataLst>
          </p:nvPr>
        </p:nvSpPr>
        <p:spPr bwMode="auto">
          <a:xfrm>
            <a:off x="3913188" y="4252455"/>
            <a:ext cx="142875" cy="106363"/>
          </a:xfrm>
          <a:prstGeom prst="rect">
            <a:avLst/>
          </a:prstGeom>
          <a:solidFill>
            <a:srgbClr val="009DCC"/>
          </a:solidFill>
          <a:ln w="25400" cap="flat"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tangle 61"/>
          <p:cNvSpPr/>
          <p:nvPr>
            <p:custDataLst>
              <p:tags r:id="rId16"/>
            </p:custDataLst>
          </p:nvPr>
        </p:nvSpPr>
        <p:spPr bwMode="auto">
          <a:xfrm>
            <a:off x="3913188" y="4425493"/>
            <a:ext cx="142875" cy="106363"/>
          </a:xfrm>
          <a:prstGeom prst="rect">
            <a:avLst/>
          </a:prstGeom>
          <a:solidFill>
            <a:srgbClr val="193C6C"/>
          </a:solidFill>
          <a:ln w="25400" cap="flat"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p:cNvSpPr/>
          <p:nvPr>
            <p:custDataLst>
              <p:tags r:id="rId17"/>
            </p:custDataLst>
          </p:nvPr>
        </p:nvSpPr>
        <p:spPr bwMode="auto">
          <a:xfrm>
            <a:off x="4106863" y="4247693"/>
            <a:ext cx="836613"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040AED92-611A-422D-ACF2-AC942C0DBA74}" type="datetime'Me''''''''r''''c''h''ant'''' ''''p''ayment''s'''''''">
              <a:rPr lang="en-GB" altLang="en-US" sz="800" smtClean="0">
                <a:solidFill>
                  <a:schemeClr val="tx1"/>
                </a:solidFill>
                <a:latin typeface="Arial" panose="020B0604020202020204" pitchFamily="34" charset="0"/>
                <a:cs typeface="Arial" panose="020B0604020202020204" pitchFamily="34" charset="0"/>
              </a:rPr>
              <a:pPr>
                <a:spcBef>
                  <a:spcPct val="0"/>
                </a:spcBef>
                <a:spcAft>
                  <a:spcPct val="0"/>
                </a:spcAft>
              </a:pPr>
              <a:t>Merchant payments</a:t>
            </a:fld>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50" name="Rectangle 49"/>
          <p:cNvSpPr/>
          <p:nvPr>
            <p:custDataLst>
              <p:tags r:id="rId18"/>
            </p:custDataLst>
          </p:nvPr>
        </p:nvSpPr>
        <p:spPr bwMode="auto">
          <a:xfrm>
            <a:off x="4106863" y="4420730"/>
            <a:ext cx="546100"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0C1BEDB4-539E-4C32-922D-A968F5BEA187}" type="datetime'P''2P ''''''tr''''a''n''''s''f''er''''''''''''''''''s'''''">
              <a:rPr lang="en-GB" altLang="en-US" sz="800" smtClean="0">
                <a:solidFill>
                  <a:schemeClr val="tx1"/>
                </a:solidFill>
                <a:latin typeface="Arial" panose="020B0604020202020204" pitchFamily="34" charset="0"/>
                <a:cs typeface="Arial" panose="020B0604020202020204" pitchFamily="34" charset="0"/>
                <a:sym typeface="+mn-lt"/>
              </a:rPr>
              <a:pPr>
                <a:spcBef>
                  <a:spcPct val="0"/>
                </a:spcBef>
                <a:spcAft>
                  <a:spcPct val="0"/>
                </a:spcAft>
              </a:pPr>
              <a:t>P2P transfers</a:t>
            </a:fld>
            <a:endParaRPr lang="en-GB" sz="800" dirty="0">
              <a:solidFill>
                <a:schemeClr val="tx1"/>
              </a:solidFill>
              <a:latin typeface="Arial" panose="020B0604020202020204" pitchFamily="34" charset="0"/>
              <a:cs typeface="Arial" panose="020B0604020202020204" pitchFamily="34" charset="0"/>
              <a:sym typeface="+mn-lt"/>
            </a:endParaRPr>
          </a:p>
        </p:txBody>
      </p:sp>
      <p:graphicFrame>
        <p:nvGraphicFramePr>
          <p:cNvPr id="77" name="Chart 76"/>
          <p:cNvGraphicFramePr/>
          <p:nvPr>
            <p:custDataLst>
              <p:tags r:id="rId19"/>
            </p:custDataLst>
            <p:extLst>
              <p:ext uri="{D42A27DB-BD31-4B8C-83A1-F6EECF244321}">
                <p14:modId xmlns:p14="http://schemas.microsoft.com/office/powerpoint/2010/main" val="31187915"/>
              </p:ext>
            </p:extLst>
          </p:nvPr>
        </p:nvGraphicFramePr>
        <p:xfrm>
          <a:off x="5766425" y="1977639"/>
          <a:ext cx="2443162" cy="1978025"/>
        </p:xfrm>
        <a:graphic>
          <a:graphicData uri="http://schemas.openxmlformats.org/drawingml/2006/chart">
            <c:chart xmlns:c="http://schemas.openxmlformats.org/drawingml/2006/chart" xmlns:r="http://schemas.openxmlformats.org/officeDocument/2006/relationships" r:id="rId41"/>
          </a:graphicData>
        </a:graphic>
      </p:graphicFrame>
      <p:sp>
        <p:nvSpPr>
          <p:cNvPr id="82" name="Rectangle 81"/>
          <p:cNvSpPr/>
          <p:nvPr>
            <p:custDataLst>
              <p:tags r:id="rId20"/>
            </p:custDataLst>
          </p:nvPr>
        </p:nvSpPr>
        <p:spPr bwMode="gray">
          <a:xfrm>
            <a:off x="6957146" y="2190413"/>
            <a:ext cx="268288" cy="192088"/>
          </a:xfrm>
          <a:prstGeom prst="rect">
            <a:avLst/>
          </a:prstGeom>
          <a:solidFill>
            <a:srgbClr val="009DCC"/>
          </a:solidFill>
          <a:ln w="25400" cap="flat"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lnSpc>
                <a:spcPct val="90000"/>
              </a:lnSpc>
              <a:spcBef>
                <a:spcPct val="0"/>
              </a:spcBef>
              <a:spcAft>
                <a:spcPct val="0"/>
              </a:spcAft>
            </a:pPr>
            <a:fld id="{BCDEC360-5C90-47FF-B768-7CE999FC4A21}" type="datetime'''''''''''''''''''''''''''1''%'''''''''''''''''''''''''''">
              <a:rPr lang="en-GB" altLang="en-US" sz="1400" smtClean="0">
                <a:solidFill>
                  <a:schemeClr val="bg1"/>
                </a:solidFill>
                <a:sym typeface="+mn-lt"/>
              </a:rPr>
              <a:pPr algn="ctr">
                <a:lnSpc>
                  <a:spcPct val="90000"/>
                </a:lnSpc>
                <a:spcBef>
                  <a:spcPct val="0"/>
                </a:spcBef>
                <a:spcAft>
                  <a:spcPct val="0"/>
                </a:spcAft>
              </a:pPr>
              <a:t>1%</a:t>
            </a:fld>
            <a:endParaRPr lang="en-GB" sz="1400" dirty="0">
              <a:solidFill>
                <a:schemeClr val="bg1"/>
              </a:solidFill>
              <a:sym typeface="+mn-lt"/>
            </a:endParaRPr>
          </a:p>
        </p:txBody>
      </p:sp>
      <p:sp>
        <p:nvSpPr>
          <p:cNvPr id="81" name="Rectangle 80"/>
          <p:cNvSpPr/>
          <p:nvPr>
            <p:custDataLst>
              <p:tags r:id="rId21"/>
            </p:custDataLst>
          </p:nvPr>
        </p:nvSpPr>
        <p:spPr bwMode="gray">
          <a:xfrm>
            <a:off x="6934201" y="2478208"/>
            <a:ext cx="268288" cy="192088"/>
          </a:xfrm>
          <a:prstGeom prst="rect">
            <a:avLst/>
          </a:prstGeom>
          <a:solidFill>
            <a:srgbClr val="193C6C"/>
          </a:solidFill>
          <a:ln w="25400" cap="flat"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lnSpc>
                <a:spcPct val="90000"/>
              </a:lnSpc>
              <a:spcBef>
                <a:spcPct val="0"/>
              </a:spcBef>
              <a:spcAft>
                <a:spcPct val="0"/>
              </a:spcAft>
            </a:pPr>
            <a:fld id="{8FA2D558-124A-4665-9BCD-4CC3AC7A9B78}" type="datetime'''''''''''''''''''''''''''''2''''''''''''''''%'">
              <a:rPr lang="en-GB" altLang="en-US" sz="1400" smtClean="0">
                <a:solidFill>
                  <a:schemeClr val="bg1"/>
                </a:solidFill>
              </a:rPr>
              <a:pPr algn="ctr">
                <a:lnSpc>
                  <a:spcPct val="90000"/>
                </a:lnSpc>
                <a:spcBef>
                  <a:spcPct val="0"/>
                </a:spcBef>
                <a:spcAft>
                  <a:spcPct val="0"/>
                </a:spcAft>
              </a:pPr>
              <a:t>2%</a:t>
            </a:fld>
            <a:endParaRPr lang="en-GB" sz="1400" dirty="0">
              <a:solidFill>
                <a:schemeClr val="bg1"/>
              </a:solidFill>
              <a:sym typeface="+mn-lt"/>
            </a:endParaRPr>
          </a:p>
        </p:txBody>
      </p:sp>
      <p:sp>
        <p:nvSpPr>
          <p:cNvPr id="103" name="Rectangle 102"/>
          <p:cNvSpPr/>
          <p:nvPr>
            <p:custDataLst>
              <p:tags r:id="rId22"/>
            </p:custDataLst>
          </p:nvPr>
        </p:nvSpPr>
        <p:spPr bwMode="gray">
          <a:xfrm>
            <a:off x="6708775" y="2265570"/>
            <a:ext cx="268288" cy="192088"/>
          </a:xfrm>
          <a:prstGeom prst="rect">
            <a:avLst/>
          </a:prstGeom>
          <a:noFill/>
          <a:ln w="25400" cap="flat"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lnSpc>
                <a:spcPct val="90000"/>
              </a:lnSpc>
              <a:spcBef>
                <a:spcPct val="0"/>
              </a:spcBef>
              <a:spcAft>
                <a:spcPct val="0"/>
              </a:spcAft>
            </a:pPr>
            <a:fld id="{AC2146B8-AC49-4008-8F1A-3DDB7B732088}" type="datetime'''''''''4%'''''''''''''''''">
              <a:rPr lang="en-GB" altLang="en-US" sz="1400" smtClean="0">
                <a:solidFill>
                  <a:schemeClr val="bg1"/>
                </a:solidFill>
                <a:sym typeface="+mn-lt"/>
              </a:rPr>
              <a:pPr algn="ctr">
                <a:lnSpc>
                  <a:spcPct val="90000"/>
                </a:lnSpc>
                <a:spcBef>
                  <a:spcPct val="0"/>
                </a:spcBef>
                <a:spcAft>
                  <a:spcPct val="0"/>
                </a:spcAft>
              </a:pPr>
              <a:t>4%</a:t>
            </a:fld>
            <a:endParaRPr lang="en-GB" sz="1400" dirty="0">
              <a:solidFill>
                <a:schemeClr val="bg1"/>
              </a:solidFill>
              <a:sym typeface="+mn-lt"/>
            </a:endParaRPr>
          </a:p>
        </p:txBody>
      </p:sp>
      <p:sp>
        <p:nvSpPr>
          <p:cNvPr id="96" name="Rectangle 95"/>
          <p:cNvSpPr/>
          <p:nvPr>
            <p:custDataLst>
              <p:tags r:id="rId23"/>
            </p:custDataLst>
          </p:nvPr>
        </p:nvSpPr>
        <p:spPr bwMode="auto">
          <a:xfrm>
            <a:off x="6293605" y="4590593"/>
            <a:ext cx="142875" cy="106363"/>
          </a:xfrm>
          <a:prstGeom prst="rect">
            <a:avLst/>
          </a:prstGeom>
          <a:solidFill>
            <a:srgbClr val="FBBB21"/>
          </a:solidFill>
          <a:ln w="25400" cap="flat"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4" name="Rectangle 93"/>
          <p:cNvSpPr/>
          <p:nvPr>
            <p:custDataLst>
              <p:tags r:id="rId24"/>
            </p:custDataLst>
          </p:nvPr>
        </p:nvSpPr>
        <p:spPr bwMode="auto">
          <a:xfrm>
            <a:off x="6293605" y="4244518"/>
            <a:ext cx="142875" cy="106363"/>
          </a:xfrm>
          <a:prstGeom prst="rect">
            <a:avLst/>
          </a:prstGeom>
          <a:solidFill>
            <a:srgbClr val="8C8FAE"/>
          </a:solidFill>
          <a:ln w="25400" cap="flat"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Rectangle 94"/>
          <p:cNvSpPr/>
          <p:nvPr>
            <p:custDataLst>
              <p:tags r:id="rId25"/>
            </p:custDataLst>
          </p:nvPr>
        </p:nvSpPr>
        <p:spPr bwMode="auto">
          <a:xfrm>
            <a:off x="6293605" y="4417555"/>
            <a:ext cx="142875" cy="106363"/>
          </a:xfrm>
          <a:prstGeom prst="rect">
            <a:avLst/>
          </a:prstGeom>
          <a:solidFill>
            <a:srgbClr val="85CFE9"/>
          </a:solidFill>
          <a:ln w="25400" cap="flat"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Rectangle 96"/>
          <p:cNvSpPr/>
          <p:nvPr>
            <p:custDataLst>
              <p:tags r:id="rId26"/>
            </p:custDataLst>
          </p:nvPr>
        </p:nvSpPr>
        <p:spPr bwMode="auto">
          <a:xfrm>
            <a:off x="7492346" y="4244518"/>
            <a:ext cx="142875" cy="106363"/>
          </a:xfrm>
          <a:prstGeom prst="rect">
            <a:avLst/>
          </a:prstGeom>
          <a:solidFill>
            <a:srgbClr val="323335"/>
          </a:solidFill>
          <a:ln w="25400" cap="flat"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8" name="Rectangle 97"/>
          <p:cNvSpPr/>
          <p:nvPr>
            <p:custDataLst>
              <p:tags r:id="rId27"/>
            </p:custDataLst>
          </p:nvPr>
        </p:nvSpPr>
        <p:spPr bwMode="auto">
          <a:xfrm>
            <a:off x="7492346" y="4417555"/>
            <a:ext cx="142875" cy="106363"/>
          </a:xfrm>
          <a:prstGeom prst="rect">
            <a:avLst/>
          </a:prstGeom>
          <a:solidFill>
            <a:srgbClr val="193C6C"/>
          </a:solidFill>
          <a:ln w="25400" cap="flat"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Rectangle 98"/>
          <p:cNvSpPr/>
          <p:nvPr>
            <p:custDataLst>
              <p:tags r:id="rId28"/>
            </p:custDataLst>
          </p:nvPr>
        </p:nvSpPr>
        <p:spPr bwMode="auto">
          <a:xfrm>
            <a:off x="7492346" y="4590593"/>
            <a:ext cx="142875" cy="106363"/>
          </a:xfrm>
          <a:prstGeom prst="rect">
            <a:avLst/>
          </a:prstGeom>
          <a:solidFill>
            <a:srgbClr val="009DCC"/>
          </a:solidFill>
          <a:ln w="25400" cap="flat" cmpd="sng" algn="ctr">
            <a:noFill/>
            <a:prstDash val="solid"/>
            <a:round/>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4" name="Rectangle 73"/>
          <p:cNvSpPr/>
          <p:nvPr>
            <p:custDataLst>
              <p:tags r:id="rId29"/>
            </p:custDataLst>
          </p:nvPr>
        </p:nvSpPr>
        <p:spPr bwMode="auto">
          <a:xfrm>
            <a:off x="6487280" y="4239755"/>
            <a:ext cx="369888"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53298845-7F0E-473B-B575-41000874C0B6}" type="datetime'C''a''''s''''''''''''h''''''-''o''''''''u''''''''''t'''''">
              <a:rPr lang="en-GB" altLang="en-US" sz="800" smtClean="0">
                <a:solidFill>
                  <a:schemeClr val="tx1"/>
                </a:solidFill>
                <a:latin typeface="Arial" panose="020B0604020202020204" pitchFamily="34" charset="0"/>
                <a:cs typeface="Arial" panose="020B0604020202020204" pitchFamily="34" charset="0"/>
                <a:sym typeface="+mn-lt"/>
              </a:rPr>
              <a:pPr>
                <a:spcBef>
                  <a:spcPct val="0"/>
                </a:spcBef>
                <a:spcAft>
                  <a:spcPct val="0"/>
                </a:spcAft>
              </a:pPr>
              <a:t>Cash-out</a:t>
            </a:fld>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75" name="Rectangle 74"/>
          <p:cNvSpPr/>
          <p:nvPr>
            <p:custDataLst>
              <p:tags r:id="rId30"/>
            </p:custDataLst>
          </p:nvPr>
        </p:nvSpPr>
        <p:spPr bwMode="auto">
          <a:xfrm>
            <a:off x="6487280" y="4412793"/>
            <a:ext cx="557213"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7A475E85-96E3-40B2-BCC2-88892F5BA536}" type="datetime'''''Bi''''l''l ''''p''''''''''''''a''''''''''ymen''''''ts'">
              <a:rPr lang="en-GB" altLang="en-US" sz="800" smtClean="0">
                <a:solidFill>
                  <a:schemeClr val="tx1"/>
                </a:solidFill>
                <a:latin typeface="Arial" panose="020B0604020202020204" pitchFamily="34" charset="0"/>
                <a:cs typeface="Arial" panose="020B0604020202020204" pitchFamily="34" charset="0"/>
                <a:sym typeface="+mn-lt"/>
              </a:rPr>
              <a:pPr>
                <a:spcBef>
                  <a:spcPct val="0"/>
                </a:spcBef>
                <a:spcAft>
                  <a:spcPct val="0"/>
                </a:spcAft>
              </a:pPr>
              <a:t>Bill payments</a:t>
            </a:fld>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78" name="Rectangle 77"/>
          <p:cNvSpPr/>
          <p:nvPr>
            <p:custDataLst>
              <p:tags r:id="rId31"/>
            </p:custDataLst>
          </p:nvPr>
        </p:nvSpPr>
        <p:spPr bwMode="auto">
          <a:xfrm>
            <a:off x="7686021" y="4239755"/>
            <a:ext cx="649288"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765B7121-4DA5-4B14-889C-EA3544F2CF63}" type="datetime'A''''ir''ti''m''e'' ''''t''''''o''p''''''''''''''-u''p''s'''''">
              <a:rPr lang="en-GB" altLang="en-US" sz="800" smtClean="0">
                <a:solidFill>
                  <a:schemeClr val="tx1"/>
                </a:solidFill>
                <a:latin typeface="Arial" panose="020B0604020202020204" pitchFamily="34" charset="0"/>
                <a:cs typeface="Arial" panose="020B0604020202020204" pitchFamily="34" charset="0"/>
                <a:sym typeface="+mn-lt"/>
              </a:rPr>
              <a:pPr>
                <a:spcBef>
                  <a:spcPct val="0"/>
                </a:spcBef>
                <a:spcAft>
                  <a:spcPct val="0"/>
                </a:spcAft>
              </a:pPr>
              <a:t>Airtime top-ups</a:t>
            </a:fld>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76" name="Rectangle 75"/>
          <p:cNvSpPr/>
          <p:nvPr>
            <p:custDataLst>
              <p:tags r:id="rId32"/>
            </p:custDataLst>
          </p:nvPr>
        </p:nvSpPr>
        <p:spPr bwMode="auto">
          <a:xfrm>
            <a:off x="6487280" y="4585830"/>
            <a:ext cx="625475"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A7C4054-55A6-4828-98EA-142A6A82DBF3}" type="datetime'''''W''''al''l''''et-''to-''''''''''''''''''ba''n''''k'''">
              <a:rPr lang="en-GB" altLang="en-US" sz="800" smtClean="0">
                <a:solidFill>
                  <a:schemeClr val="tx1"/>
                </a:solidFill>
                <a:latin typeface="Arial" panose="020B0604020202020204" pitchFamily="34" charset="0"/>
                <a:cs typeface="Arial" panose="020B0604020202020204" pitchFamily="34" charset="0"/>
                <a:sym typeface="+mn-lt"/>
              </a:rPr>
              <a:pPr>
                <a:spcBef>
                  <a:spcPct val="0"/>
                </a:spcBef>
                <a:spcAft>
                  <a:spcPct val="0"/>
                </a:spcAft>
              </a:pPr>
              <a:t>Wallet-to-bank</a:t>
            </a:fld>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79" name="Rectangle 78"/>
          <p:cNvSpPr/>
          <p:nvPr>
            <p:custDataLst>
              <p:tags r:id="rId33"/>
            </p:custDataLst>
          </p:nvPr>
        </p:nvSpPr>
        <p:spPr bwMode="auto">
          <a:xfrm>
            <a:off x="7686021" y="4412793"/>
            <a:ext cx="690563"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0E2CB6B-2416-4171-AB43-48D87516C275}" type="datetime'O''''ff-n''et'' tra''''''''''''n''''''sf''''''e''rs'">
              <a:rPr lang="en-GB" altLang="en-US" sz="800" smtClean="0">
                <a:solidFill>
                  <a:schemeClr val="tx1"/>
                </a:solidFill>
                <a:latin typeface="Arial" panose="020B0604020202020204" pitchFamily="34" charset="0"/>
                <a:cs typeface="Arial" panose="020B0604020202020204" pitchFamily="34" charset="0"/>
                <a:sym typeface="+mn-lt"/>
              </a:rPr>
              <a:pPr>
                <a:spcBef>
                  <a:spcPct val="0"/>
                </a:spcBef>
                <a:spcAft>
                  <a:spcPct val="0"/>
                </a:spcAft>
              </a:pPr>
              <a:t>Off-net transfers</a:t>
            </a:fld>
            <a:endParaRPr lang="en-GB" sz="800" dirty="0">
              <a:solidFill>
                <a:schemeClr val="tx1"/>
              </a:solidFill>
              <a:latin typeface="Arial" panose="020B0604020202020204" pitchFamily="34" charset="0"/>
              <a:cs typeface="Arial" panose="020B0604020202020204" pitchFamily="34" charset="0"/>
              <a:sym typeface="+mn-lt"/>
            </a:endParaRPr>
          </a:p>
        </p:txBody>
      </p:sp>
      <p:sp>
        <p:nvSpPr>
          <p:cNvPr id="80" name="Rectangle 79"/>
          <p:cNvSpPr/>
          <p:nvPr>
            <p:custDataLst>
              <p:tags r:id="rId34"/>
            </p:custDataLst>
          </p:nvPr>
        </p:nvSpPr>
        <p:spPr bwMode="auto">
          <a:xfrm>
            <a:off x="7686021" y="4585830"/>
            <a:ext cx="1055688"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65439D8D-C264-4668-8A74-205ADFA8C279}" type="datetime'''I''''''nter''''''''n''a''tiona''l'''' remi''tta''''n''ce''s'">
              <a:rPr lang="en-GB" altLang="en-US" sz="800" smtClean="0">
                <a:solidFill>
                  <a:schemeClr val="tx1"/>
                </a:solidFill>
                <a:latin typeface="Arial" panose="020B0604020202020204" pitchFamily="34" charset="0"/>
                <a:cs typeface="Arial" panose="020B0604020202020204" pitchFamily="34" charset="0"/>
                <a:sym typeface="+mn-lt"/>
              </a:rPr>
              <a:pPr>
                <a:spcBef>
                  <a:spcPct val="0"/>
                </a:spcBef>
                <a:spcAft>
                  <a:spcPct val="0"/>
                </a:spcAft>
              </a:pPr>
              <a:t>International remittances</a:t>
            </a:fld>
            <a:endParaRPr lang="en-GB" sz="800" dirty="0">
              <a:solidFill>
                <a:schemeClr val="tx1"/>
              </a:solidFill>
              <a:latin typeface="Arial" panose="020B0604020202020204" pitchFamily="34" charset="0"/>
              <a:cs typeface="Arial" panose="020B0604020202020204" pitchFamily="34" charset="0"/>
              <a:sym typeface="+mn-lt"/>
            </a:endParaRPr>
          </a:p>
        </p:txBody>
      </p:sp>
      <p:cxnSp>
        <p:nvCxnSpPr>
          <p:cNvPr id="17" name="Straight Connector 16"/>
          <p:cNvCxnSpPr/>
          <p:nvPr/>
        </p:nvCxnSpPr>
        <p:spPr>
          <a:xfrm rot="300000">
            <a:off x="3359020" y="1913711"/>
            <a:ext cx="180000" cy="2162532"/>
          </a:xfrm>
          <a:prstGeom prst="line">
            <a:avLst/>
          </a:prstGeom>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1350391" y="1226071"/>
            <a:ext cx="1466406" cy="598671"/>
            <a:chOff x="1350391" y="1105493"/>
            <a:chExt cx="1466406" cy="598671"/>
          </a:xfrm>
        </p:grpSpPr>
        <p:sp>
          <p:nvSpPr>
            <p:cNvPr id="19" name="Down Arrow 18"/>
            <p:cNvSpPr/>
            <p:nvPr/>
          </p:nvSpPr>
          <p:spPr>
            <a:xfrm>
              <a:off x="1940674" y="1448674"/>
              <a:ext cx="280013" cy="255490"/>
            </a:xfrm>
            <a:prstGeom prst="downArrow">
              <a:avLst/>
            </a:prstGeom>
            <a:solidFill>
              <a:srgbClr val="193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extBox 17"/>
            <p:cNvSpPr txBox="1"/>
            <p:nvPr/>
          </p:nvSpPr>
          <p:spPr>
            <a:xfrm>
              <a:off x="1350391" y="1105493"/>
              <a:ext cx="1466406" cy="476726"/>
            </a:xfrm>
            <a:prstGeom prst="flowChartAlternateProcess">
              <a:avLst/>
            </a:prstGeom>
            <a:solidFill>
              <a:srgbClr val="193C6C"/>
            </a:solidFill>
          </p:spPr>
          <p:txBody>
            <a:bodyPr wrap="square" rtlCol="0">
              <a:spAutoFit/>
            </a:bodyPr>
            <a:lstStyle/>
            <a:p>
              <a:r>
                <a:rPr lang="en-GB" sz="1100" dirty="0" smtClean="0">
                  <a:solidFill>
                    <a:schemeClr val="bg1"/>
                  </a:solidFill>
                  <a:latin typeface="Arial" panose="020B0604020202020204" pitchFamily="34" charset="0"/>
                  <a:cs typeface="Arial" panose="020B0604020202020204" pitchFamily="34" charset="0"/>
                </a:rPr>
                <a:t>Incoming transactions</a:t>
              </a:r>
              <a:endParaRPr lang="en-GB" sz="1100" dirty="0">
                <a:solidFill>
                  <a:schemeClr val="bg1"/>
                </a:solidFill>
                <a:latin typeface="Arial" panose="020B0604020202020204" pitchFamily="34" charset="0"/>
                <a:cs typeface="Arial" panose="020B0604020202020204" pitchFamily="34" charset="0"/>
              </a:endParaRPr>
            </a:p>
          </p:txBody>
        </p:sp>
      </p:grpSp>
      <p:cxnSp>
        <p:nvCxnSpPr>
          <p:cNvPr id="59" name="Straight Connector 58"/>
          <p:cNvCxnSpPr/>
          <p:nvPr/>
        </p:nvCxnSpPr>
        <p:spPr>
          <a:xfrm rot="300000">
            <a:off x="5746095" y="1913711"/>
            <a:ext cx="180000" cy="2162532"/>
          </a:xfrm>
          <a:prstGeom prst="line">
            <a:avLst/>
          </a:prstGeom>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3970734" y="1226071"/>
            <a:ext cx="1466406" cy="598671"/>
            <a:chOff x="3970734" y="1085277"/>
            <a:chExt cx="1466406" cy="598671"/>
          </a:xfrm>
        </p:grpSpPr>
        <p:sp>
          <p:nvSpPr>
            <p:cNvPr id="60" name="Down Arrow 59"/>
            <p:cNvSpPr/>
            <p:nvPr/>
          </p:nvSpPr>
          <p:spPr>
            <a:xfrm>
              <a:off x="4561017" y="1428458"/>
              <a:ext cx="280013" cy="255490"/>
            </a:xfrm>
            <a:prstGeom prst="downArrow">
              <a:avLst/>
            </a:prstGeom>
            <a:solidFill>
              <a:srgbClr val="193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64" name="TextBox 63"/>
            <p:cNvSpPr txBox="1"/>
            <p:nvPr/>
          </p:nvSpPr>
          <p:spPr>
            <a:xfrm>
              <a:off x="3970734" y="1085277"/>
              <a:ext cx="1466406" cy="476726"/>
            </a:xfrm>
            <a:prstGeom prst="flowChartAlternateProcess">
              <a:avLst/>
            </a:prstGeom>
            <a:solidFill>
              <a:srgbClr val="193C6C"/>
            </a:solidFill>
          </p:spPr>
          <p:txBody>
            <a:bodyPr wrap="square" rtlCol="0">
              <a:spAutoFit/>
            </a:bodyPr>
            <a:lstStyle/>
            <a:p>
              <a:r>
                <a:rPr lang="en-GB" sz="1100" dirty="0" smtClean="0">
                  <a:solidFill>
                    <a:schemeClr val="bg1"/>
                  </a:solidFill>
                  <a:latin typeface="Arial" panose="020B0604020202020204" pitchFamily="34" charset="0"/>
                  <a:cs typeface="Arial" panose="020B0604020202020204" pitchFamily="34" charset="0"/>
                </a:rPr>
                <a:t>Circulating transactions</a:t>
              </a:r>
              <a:endParaRPr lang="en-GB" sz="1100" dirty="0">
                <a:solidFill>
                  <a:schemeClr val="bg1"/>
                </a:solidFill>
                <a:latin typeface="Arial" panose="020B0604020202020204" pitchFamily="34" charset="0"/>
                <a:cs typeface="Arial" panose="020B0604020202020204" pitchFamily="34" charset="0"/>
              </a:endParaRPr>
            </a:p>
          </p:txBody>
        </p:sp>
      </p:grpSp>
      <p:grpSp>
        <p:nvGrpSpPr>
          <p:cNvPr id="24" name="Group 23"/>
          <p:cNvGrpSpPr/>
          <p:nvPr/>
        </p:nvGrpSpPr>
        <p:grpSpPr>
          <a:xfrm>
            <a:off x="6269169" y="1226071"/>
            <a:ext cx="1466406" cy="598671"/>
            <a:chOff x="6376477" y="1097716"/>
            <a:chExt cx="1466406" cy="598671"/>
          </a:xfrm>
        </p:grpSpPr>
        <p:sp>
          <p:nvSpPr>
            <p:cNvPr id="65" name="Down Arrow 64"/>
            <p:cNvSpPr/>
            <p:nvPr/>
          </p:nvSpPr>
          <p:spPr>
            <a:xfrm>
              <a:off x="6966760" y="1440897"/>
              <a:ext cx="280013" cy="255490"/>
            </a:xfrm>
            <a:prstGeom prst="downArrow">
              <a:avLst/>
            </a:prstGeom>
            <a:solidFill>
              <a:srgbClr val="193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sp>
          <p:nvSpPr>
            <p:cNvPr id="66" name="TextBox 65"/>
            <p:cNvSpPr txBox="1"/>
            <p:nvPr/>
          </p:nvSpPr>
          <p:spPr>
            <a:xfrm>
              <a:off x="6376477" y="1097716"/>
              <a:ext cx="1466406" cy="476726"/>
            </a:xfrm>
            <a:prstGeom prst="flowChartAlternateProcess">
              <a:avLst/>
            </a:prstGeom>
            <a:solidFill>
              <a:srgbClr val="193C6C"/>
            </a:solidFill>
          </p:spPr>
          <p:txBody>
            <a:bodyPr wrap="square" rtlCol="0">
              <a:spAutoFit/>
            </a:bodyPr>
            <a:lstStyle/>
            <a:p>
              <a:r>
                <a:rPr lang="en-GB" sz="1100" dirty="0" smtClean="0">
                  <a:solidFill>
                    <a:schemeClr val="bg1"/>
                  </a:solidFill>
                  <a:latin typeface="Arial" panose="020B0604020202020204" pitchFamily="34" charset="0"/>
                  <a:cs typeface="Arial" panose="020B0604020202020204" pitchFamily="34" charset="0"/>
                </a:rPr>
                <a:t>Outgoing </a:t>
              </a:r>
            </a:p>
            <a:p>
              <a:r>
                <a:rPr lang="en-GB" sz="1100" dirty="0" smtClean="0">
                  <a:solidFill>
                    <a:schemeClr val="bg1"/>
                  </a:solidFill>
                  <a:latin typeface="Arial" panose="020B0604020202020204" pitchFamily="34" charset="0"/>
                  <a:cs typeface="Arial" panose="020B0604020202020204" pitchFamily="34" charset="0"/>
                </a:rPr>
                <a:t>transactions</a:t>
              </a:r>
              <a:endParaRPr lang="en-GB" sz="1100" dirty="0">
                <a:solidFill>
                  <a:schemeClr val="bg1"/>
                </a:solidFill>
                <a:latin typeface="Arial" panose="020B0604020202020204" pitchFamily="34" charset="0"/>
                <a:cs typeface="Arial" panose="020B0604020202020204" pitchFamily="34" charset="0"/>
              </a:endParaRPr>
            </a:p>
          </p:txBody>
        </p:sp>
      </p:grpSp>
      <p:sp>
        <p:nvSpPr>
          <p:cNvPr id="26" name="TextBox 25"/>
          <p:cNvSpPr txBox="1"/>
          <p:nvPr/>
        </p:nvSpPr>
        <p:spPr>
          <a:xfrm>
            <a:off x="1402536" y="2760472"/>
            <a:ext cx="1203649" cy="477054"/>
          </a:xfrm>
          <a:prstGeom prst="rect">
            <a:avLst/>
          </a:prstGeom>
          <a:noFill/>
        </p:spPr>
        <p:txBody>
          <a:bodyPr wrap="square" rtlCol="0">
            <a:spAutoFit/>
          </a:bodyPr>
          <a:lstStyle/>
          <a:p>
            <a:pPr algn="ctr"/>
            <a:r>
              <a:rPr lang="en-GB" sz="1000" dirty="0" smtClean="0">
                <a:latin typeface="Arial" panose="020B0604020202020204" pitchFamily="34" charset="0"/>
                <a:cs typeface="Arial" panose="020B0604020202020204" pitchFamily="34" charset="0"/>
              </a:rPr>
              <a:t>Total Value</a:t>
            </a:r>
          </a:p>
          <a:p>
            <a:pPr algn="ctr"/>
            <a:r>
              <a:rPr lang="en-GB" sz="1400" b="1" dirty="0" smtClean="0">
                <a:latin typeface="Arial" panose="020B0604020202020204" pitchFamily="34" charset="0"/>
                <a:cs typeface="Arial" panose="020B0604020202020204" pitchFamily="34" charset="0"/>
              </a:rPr>
              <a:t>$10.3bn</a:t>
            </a:r>
            <a:endParaRPr lang="en-GB" sz="1400" b="1" dirty="0">
              <a:latin typeface="Arial" panose="020B0604020202020204" pitchFamily="34" charset="0"/>
              <a:cs typeface="Arial" panose="020B0604020202020204" pitchFamily="34" charset="0"/>
            </a:endParaRPr>
          </a:p>
        </p:txBody>
      </p:sp>
      <p:sp>
        <p:nvSpPr>
          <p:cNvPr id="71" name="TextBox 70"/>
          <p:cNvSpPr txBox="1"/>
          <p:nvPr/>
        </p:nvSpPr>
        <p:spPr>
          <a:xfrm>
            <a:off x="4023641" y="2760472"/>
            <a:ext cx="1203649" cy="477054"/>
          </a:xfrm>
          <a:prstGeom prst="rect">
            <a:avLst/>
          </a:prstGeom>
          <a:noFill/>
        </p:spPr>
        <p:txBody>
          <a:bodyPr wrap="square" rtlCol="0">
            <a:spAutoFit/>
          </a:bodyPr>
          <a:lstStyle/>
          <a:p>
            <a:pPr algn="ctr"/>
            <a:r>
              <a:rPr lang="en-GB" sz="1000" dirty="0" smtClean="0">
                <a:latin typeface="Arial" panose="020B0604020202020204" pitchFamily="34" charset="0"/>
                <a:cs typeface="Arial" panose="020B0604020202020204" pitchFamily="34" charset="0"/>
              </a:rPr>
              <a:t>Total Value</a:t>
            </a:r>
          </a:p>
          <a:p>
            <a:pPr algn="ctr"/>
            <a:r>
              <a:rPr lang="en-GB" sz="1400" b="1" dirty="0" smtClean="0">
                <a:latin typeface="Arial" panose="020B0604020202020204" pitchFamily="34" charset="0"/>
                <a:cs typeface="Arial" panose="020B0604020202020204" pitchFamily="34" charset="0"/>
              </a:rPr>
              <a:t>$6.1bn</a:t>
            </a:r>
            <a:endParaRPr lang="en-GB" sz="1400" b="1" dirty="0">
              <a:latin typeface="Arial" panose="020B0604020202020204" pitchFamily="34" charset="0"/>
              <a:cs typeface="Arial" panose="020B0604020202020204" pitchFamily="34" charset="0"/>
            </a:endParaRPr>
          </a:p>
        </p:txBody>
      </p:sp>
      <p:sp>
        <p:nvSpPr>
          <p:cNvPr id="72" name="TextBox 71"/>
          <p:cNvSpPr txBox="1"/>
          <p:nvPr/>
        </p:nvSpPr>
        <p:spPr>
          <a:xfrm>
            <a:off x="6405305" y="2760472"/>
            <a:ext cx="1203649" cy="477054"/>
          </a:xfrm>
          <a:prstGeom prst="rect">
            <a:avLst/>
          </a:prstGeom>
          <a:noFill/>
        </p:spPr>
        <p:txBody>
          <a:bodyPr wrap="square" rtlCol="0">
            <a:spAutoFit/>
          </a:bodyPr>
          <a:lstStyle/>
          <a:p>
            <a:pPr algn="ctr"/>
            <a:r>
              <a:rPr lang="en-GB" sz="1000" dirty="0" smtClean="0">
                <a:latin typeface="Arial" panose="020B0604020202020204" pitchFamily="34" charset="0"/>
                <a:cs typeface="Arial" panose="020B0604020202020204" pitchFamily="34" charset="0"/>
              </a:rPr>
              <a:t>Total Value</a:t>
            </a:r>
          </a:p>
          <a:p>
            <a:pPr algn="ctr"/>
            <a:r>
              <a:rPr lang="en-GB" sz="1400" b="1" dirty="0" smtClean="0">
                <a:latin typeface="Arial" panose="020B0604020202020204" pitchFamily="34" charset="0"/>
                <a:cs typeface="Arial" panose="020B0604020202020204" pitchFamily="34" charset="0"/>
              </a:rPr>
              <a:t>$8.5bn</a:t>
            </a:r>
            <a:endParaRPr lang="en-GB" sz="1400" b="1" dirty="0">
              <a:latin typeface="Arial" panose="020B0604020202020204" pitchFamily="34" charset="0"/>
              <a:cs typeface="Arial" panose="020B0604020202020204" pitchFamily="34" charset="0"/>
            </a:endParaRPr>
          </a:p>
        </p:txBody>
      </p:sp>
      <p:sp>
        <p:nvSpPr>
          <p:cNvPr id="13" name="Down Arrow 12"/>
          <p:cNvSpPr/>
          <p:nvPr/>
        </p:nvSpPr>
        <p:spPr>
          <a:xfrm rot="10800000">
            <a:off x="5038233" y="4241677"/>
            <a:ext cx="119575" cy="108000"/>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p:cNvSpPr txBox="1"/>
          <p:nvPr/>
        </p:nvSpPr>
        <p:spPr>
          <a:xfrm>
            <a:off x="4836480" y="1807432"/>
            <a:ext cx="855593" cy="338554"/>
          </a:xfrm>
          <a:prstGeom prst="rect">
            <a:avLst/>
          </a:prstGeom>
          <a:noFill/>
        </p:spPr>
        <p:txBody>
          <a:bodyPr wrap="square" rtlCol="0">
            <a:spAutoFit/>
          </a:bodyPr>
          <a:lstStyle/>
          <a:p>
            <a:r>
              <a:rPr lang="en-GB" sz="800" b="1" dirty="0" smtClean="0">
                <a:latin typeface="Arial" panose="020B0604020202020204" pitchFamily="34" charset="0"/>
                <a:cs typeface="Arial" panose="020B0604020202020204" pitchFamily="34" charset="0"/>
              </a:rPr>
              <a:t>Up from </a:t>
            </a:r>
            <a:r>
              <a:rPr lang="en-GB" sz="800" b="1" dirty="0" smtClean="0">
                <a:solidFill>
                  <a:srgbClr val="00B050"/>
                </a:solidFill>
                <a:latin typeface="Arial" panose="020B0604020202020204" pitchFamily="34" charset="0"/>
                <a:cs typeface="Arial" panose="020B0604020202020204" pitchFamily="34" charset="0"/>
              </a:rPr>
              <a:t>11.2% </a:t>
            </a:r>
            <a:r>
              <a:rPr lang="en-GB" sz="800" b="1" dirty="0" smtClean="0">
                <a:latin typeface="Arial" panose="020B0604020202020204" pitchFamily="34" charset="0"/>
                <a:cs typeface="Arial" panose="020B0604020202020204" pitchFamily="34" charset="0"/>
              </a:rPr>
              <a:t>in 2017</a:t>
            </a:r>
            <a:endParaRPr lang="en-GB" sz="800" b="1" dirty="0">
              <a:latin typeface="Arial" panose="020B0604020202020204" pitchFamily="34" charset="0"/>
              <a:cs typeface="Arial" panose="020B0604020202020204" pitchFamily="34" charset="0"/>
            </a:endParaRPr>
          </a:p>
        </p:txBody>
      </p:sp>
      <p:sp>
        <p:nvSpPr>
          <p:cNvPr id="56" name="TextBox 55"/>
          <p:cNvSpPr txBox="1"/>
          <p:nvPr/>
        </p:nvSpPr>
        <p:spPr>
          <a:xfrm>
            <a:off x="5947585" y="1826807"/>
            <a:ext cx="855593" cy="338554"/>
          </a:xfrm>
          <a:prstGeom prst="rect">
            <a:avLst/>
          </a:prstGeom>
          <a:noFill/>
        </p:spPr>
        <p:txBody>
          <a:bodyPr wrap="square" rtlCol="0">
            <a:spAutoFit/>
          </a:bodyPr>
          <a:lstStyle/>
          <a:p>
            <a:r>
              <a:rPr lang="en-GB" sz="800" b="1" dirty="0" smtClean="0">
                <a:latin typeface="Arial" panose="020B0604020202020204" pitchFamily="34" charset="0"/>
                <a:cs typeface="Arial" panose="020B0604020202020204" pitchFamily="34" charset="0"/>
              </a:rPr>
              <a:t>Up from </a:t>
            </a:r>
            <a:r>
              <a:rPr lang="en-GB" sz="800" b="1" dirty="0" smtClean="0">
                <a:solidFill>
                  <a:srgbClr val="00B050"/>
                </a:solidFill>
                <a:latin typeface="Arial" panose="020B0604020202020204" pitchFamily="34" charset="0"/>
                <a:cs typeface="Arial" panose="020B0604020202020204" pitchFamily="34" charset="0"/>
              </a:rPr>
              <a:t>2.4% </a:t>
            </a:r>
            <a:r>
              <a:rPr lang="en-GB" sz="800" b="1" dirty="0" smtClean="0">
                <a:latin typeface="Arial" panose="020B0604020202020204" pitchFamily="34" charset="0"/>
                <a:cs typeface="Arial" panose="020B0604020202020204" pitchFamily="34" charset="0"/>
              </a:rPr>
              <a:t>in 2017</a:t>
            </a:r>
            <a:endParaRPr lang="en-GB" sz="800" b="1" dirty="0">
              <a:latin typeface="Arial" panose="020B0604020202020204" pitchFamily="34" charset="0"/>
              <a:cs typeface="Arial" panose="020B0604020202020204" pitchFamily="34" charset="0"/>
            </a:endParaRPr>
          </a:p>
        </p:txBody>
      </p:sp>
      <p:cxnSp>
        <p:nvCxnSpPr>
          <p:cNvPr id="27" name="Straight Connector 26"/>
          <p:cNvCxnSpPr/>
          <p:nvPr/>
        </p:nvCxnSpPr>
        <p:spPr>
          <a:xfrm>
            <a:off x="6361986" y="2127429"/>
            <a:ext cx="66693" cy="108000"/>
          </a:xfrm>
          <a:prstGeom prst="line">
            <a:avLst/>
          </a:prstGeom>
          <a:ln w="9525">
            <a:solidFill>
              <a:srgbClr val="FBBB21"/>
            </a:solidFill>
            <a:prstDash val="solid"/>
          </a:ln>
        </p:spPr>
        <p:style>
          <a:lnRef idx="3">
            <a:schemeClr val="accent4"/>
          </a:lnRef>
          <a:fillRef idx="0">
            <a:schemeClr val="accent4"/>
          </a:fillRef>
          <a:effectRef idx="2">
            <a:schemeClr val="accent4"/>
          </a:effectRef>
          <a:fontRef idx="minor">
            <a:schemeClr val="tx1"/>
          </a:fontRef>
        </p:style>
      </p:cxnSp>
      <p:sp>
        <p:nvSpPr>
          <p:cNvPr id="68" name="Down Arrow 67"/>
          <p:cNvSpPr/>
          <p:nvPr/>
        </p:nvSpPr>
        <p:spPr>
          <a:xfrm rot="10800000">
            <a:off x="7156790" y="4584997"/>
            <a:ext cx="119575" cy="108000"/>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3" name="Picture 72">
            <a:extLst>
              <a:ext uri="{FF2B5EF4-FFF2-40B4-BE49-F238E27FC236}">
                <a16:creationId xmlns:a16="http://schemas.microsoft.com/office/drawing/2014/main" id="{D1BBFB28-B1AF-C249-BB63-0D06D590D12F}"/>
              </a:ext>
            </a:extLst>
          </p:cNvPr>
          <p:cNvPicPr>
            <a:picLocks noChangeAspect="1"/>
          </p:cNvPicPr>
          <p:nvPr/>
        </p:nvPicPr>
        <p:blipFill>
          <a:blip r:embed="rId42" cstate="hqprint">
            <a:extLst>
              <a:ext uri="{28A0092B-C50C-407E-A947-70E740481C1C}">
                <a14:useLocalDpi xmlns:a14="http://schemas.microsoft.com/office/drawing/2010/main" val="0"/>
              </a:ext>
            </a:extLst>
          </a:blip>
          <a:stretch>
            <a:fillRect/>
          </a:stretch>
        </p:blipFill>
        <p:spPr>
          <a:xfrm>
            <a:off x="247323" y="275686"/>
            <a:ext cx="534416" cy="534416"/>
          </a:xfrm>
          <a:prstGeom prst="rect">
            <a:avLst/>
          </a:prstGeom>
        </p:spPr>
      </p:pic>
    </p:spTree>
    <p:extLst>
      <p:ext uri="{BB962C8B-B14F-4D97-AF65-F5344CB8AC3E}">
        <p14:creationId xmlns:p14="http://schemas.microsoft.com/office/powerpoint/2010/main" val="8569437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57719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144"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2400" b="1" dirty="0">
              <a:latin typeface="Arial" panose="020B0604020202020204" pitchFamily="34" charset="0"/>
              <a:cs typeface="Arial" panose="020B0604020202020204" pitchFamily="34" charset="0"/>
              <a:sym typeface="Arial" panose="020B0604020202020204" pitchFamily="34" charset="0"/>
            </a:endParaRPr>
          </a:p>
        </p:txBody>
      </p:sp>
      <p:sp>
        <p:nvSpPr>
          <p:cNvPr id="4" name="Title 3"/>
          <p:cNvSpPr>
            <a:spLocks noGrp="1"/>
          </p:cNvSpPr>
          <p:nvPr>
            <p:ph type="title" idx="4294967295"/>
          </p:nvPr>
        </p:nvSpPr>
        <p:spPr>
          <a:xfrm>
            <a:off x="798293" y="333375"/>
            <a:ext cx="8128000" cy="495300"/>
          </a:xfrm>
          <a:prstGeom prst="rect">
            <a:avLst/>
          </a:prstGeom>
        </p:spPr>
        <p:txBody>
          <a:bodyPr vert="horz" lIns="91440" tIns="45720" rIns="91440" bIns="45720" rtlCol="0" anchor="t" anchorCtr="0">
            <a:noAutofit/>
          </a:bodyPr>
          <a:lstStyle/>
          <a:p>
            <a:r>
              <a:rPr lang="en-GB" sz="1800" b="1" dirty="0" smtClean="0">
                <a:solidFill>
                  <a:srgbClr val="00ACD4"/>
                </a:solidFill>
                <a:latin typeface="Arial" panose="020B0604020202020204" pitchFamily="34" charset="0"/>
                <a:cs typeface="Arial" panose="020B0604020202020204" pitchFamily="34" charset="0"/>
              </a:rPr>
              <a:t>2018 saw advancements in investments, strategic partnerships, regional interoperability and regulation across the Sub-Saharan African region.</a:t>
            </a:r>
            <a:endParaRPr lang="en-GB" sz="1800" b="1" dirty="0">
              <a:solidFill>
                <a:srgbClr val="00ACD4"/>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D1BBFB28-B1AF-C249-BB63-0D06D590D12F}"/>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47323" y="275686"/>
            <a:ext cx="534416" cy="534416"/>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b="15322"/>
          <a:stretch/>
        </p:blipFill>
        <p:spPr>
          <a:xfrm>
            <a:off x="699339" y="930564"/>
            <a:ext cx="7559055" cy="4098634"/>
          </a:xfrm>
          <a:prstGeom prst="rect">
            <a:avLst/>
          </a:prstGeom>
        </p:spPr>
      </p:pic>
    </p:spTree>
    <p:extLst>
      <p:ext uri="{BB962C8B-B14F-4D97-AF65-F5344CB8AC3E}">
        <p14:creationId xmlns:p14="http://schemas.microsoft.com/office/powerpoint/2010/main" val="1625072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778" name="think-cell Slide" r:id="rId5" imgW="360" imgH="360" progId="TCLayout.ActiveDocument.1">
                  <p:embed/>
                </p:oleObj>
              </mc:Choice>
              <mc:Fallback>
                <p:oleObj name="think-cell Slide" r:id="rId5" imgW="360" imgH="36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b="1" dirty="0">
              <a:latin typeface="Arial" panose="020B0604020202020204" pitchFamily="34" charset="0"/>
              <a:cs typeface="Arial" panose="020B0604020202020204" pitchFamily="34" charset="0"/>
              <a:sym typeface="Arial" panose="020B0604020202020204" pitchFamily="34" charset="0"/>
            </a:endParaRPr>
          </a:p>
        </p:txBody>
      </p:sp>
      <p:sp>
        <p:nvSpPr>
          <p:cNvPr id="3" name="Title 2"/>
          <p:cNvSpPr>
            <a:spLocks noGrp="1"/>
          </p:cNvSpPr>
          <p:nvPr>
            <p:ph type="title" idx="4294967295"/>
          </p:nvPr>
        </p:nvSpPr>
        <p:spPr>
          <a:xfrm>
            <a:off x="3517445" y="509932"/>
            <a:ext cx="5273263" cy="431800"/>
          </a:xfrm>
          <a:prstGeom prst="rect">
            <a:avLst/>
          </a:prstGeom>
        </p:spPr>
        <p:txBody>
          <a:bodyPr>
            <a:noAutofit/>
          </a:bodyPr>
          <a:lstStyle/>
          <a:p>
            <a:r>
              <a:rPr lang="en-GB" sz="1800" b="1" dirty="0">
                <a:solidFill>
                  <a:srgbClr val="00ACD4"/>
                </a:solidFill>
                <a:latin typeface="Arial" panose="020B0604020202020204" pitchFamily="34" charset="0"/>
                <a:cs typeface="Arial" panose="020B0604020202020204" pitchFamily="34" charset="0"/>
              </a:rPr>
              <a:t>Looking ahead, we see three key areas of future growth in mobile money across </a:t>
            </a:r>
            <a:r>
              <a:rPr lang="en-GB" sz="1800" b="1" dirty="0" smtClean="0">
                <a:solidFill>
                  <a:srgbClr val="00ACD4"/>
                </a:solidFill>
                <a:latin typeface="Arial" panose="020B0604020202020204" pitchFamily="34" charset="0"/>
                <a:cs typeface="Arial" panose="020B0604020202020204" pitchFamily="34" charset="0"/>
              </a:rPr>
              <a:t/>
            </a:r>
            <a:br>
              <a:rPr lang="en-GB" sz="1800" b="1" dirty="0" smtClean="0">
                <a:solidFill>
                  <a:srgbClr val="00ACD4"/>
                </a:solidFill>
                <a:latin typeface="Arial" panose="020B0604020202020204" pitchFamily="34" charset="0"/>
                <a:cs typeface="Arial" panose="020B0604020202020204" pitchFamily="34" charset="0"/>
              </a:rPr>
            </a:br>
            <a:r>
              <a:rPr lang="en-GB" sz="1800" b="1" dirty="0" smtClean="0">
                <a:solidFill>
                  <a:srgbClr val="00ACD4"/>
                </a:solidFill>
                <a:latin typeface="Arial" panose="020B0604020202020204" pitchFamily="34" charset="0"/>
                <a:cs typeface="Arial" panose="020B0604020202020204" pitchFamily="34" charset="0"/>
              </a:rPr>
              <a:t>Sub-Saharan Africa:</a:t>
            </a:r>
            <a:endParaRPr lang="en-US" sz="1800" b="1" dirty="0">
              <a:solidFill>
                <a:srgbClr val="00ACD4"/>
              </a:solidFill>
              <a:latin typeface="Arial" panose="020B0604020202020204" pitchFamily="34" charset="0"/>
              <a:cs typeface="Arial" panose="020B0604020202020204" pitchFamily="34" charset="0"/>
            </a:endParaRPr>
          </a:p>
        </p:txBody>
      </p:sp>
      <p:pic>
        <p:nvPicPr>
          <p:cNvPr id="13" name="Picture Placeholder 12"/>
          <p:cNvPicPr>
            <a:picLocks noGrp="1" noChangeAspect="1"/>
          </p:cNvPicPr>
          <p:nvPr>
            <p:ph type="pic" sz="quarter" idx="4294967295"/>
          </p:nvPr>
        </p:nvPicPr>
        <p:blipFill>
          <a:blip r:embed="rId7" cstate="hqprint">
            <a:extLst>
              <a:ext uri="{28A0092B-C50C-407E-A947-70E740481C1C}">
                <a14:useLocalDpi xmlns:a14="http://schemas.microsoft.com/office/drawing/2010/main" val="0"/>
              </a:ext>
            </a:extLst>
          </a:blip>
          <a:srcRect l="28233" r="28233"/>
          <a:stretch>
            <a:fillRect/>
          </a:stretch>
        </p:blipFill>
        <p:spPr>
          <a:xfrm>
            <a:off x="0" y="-3175"/>
            <a:ext cx="3362325" cy="5149850"/>
          </a:xfrm>
          <a:custGeom>
            <a:avLst/>
            <a:gdLst>
              <a:gd name="connsiteX0" fmla="*/ 0 w 3359150"/>
              <a:gd name="connsiteY0" fmla="*/ 425100 h 5143500"/>
              <a:gd name="connsiteX1" fmla="*/ 425100 w 3359150"/>
              <a:gd name="connsiteY1" fmla="*/ 0 h 5143500"/>
              <a:gd name="connsiteX2" fmla="*/ 2934050 w 3359150"/>
              <a:gd name="connsiteY2" fmla="*/ 0 h 5143500"/>
              <a:gd name="connsiteX3" fmla="*/ 3359150 w 3359150"/>
              <a:gd name="connsiteY3" fmla="*/ 42510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2934050 w 3359150"/>
              <a:gd name="connsiteY2" fmla="*/ 0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1917015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3261309 w 3686409"/>
              <a:gd name="connsiteY5" fmla="*/ 5143500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2462412 w 3686409"/>
              <a:gd name="connsiteY5" fmla="*/ 4719988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67333"/>
              <a:gd name="connsiteY0" fmla="*/ 425100 h 5143500"/>
              <a:gd name="connsiteX1" fmla="*/ 2244274 w 3667333"/>
              <a:gd name="connsiteY1" fmla="*/ 0 h 5143500"/>
              <a:gd name="connsiteX2" fmla="*/ 3509121 w 3667333"/>
              <a:gd name="connsiteY2" fmla="*/ 1358598 h 5143500"/>
              <a:gd name="connsiteX3" fmla="*/ 3647908 w 3667333"/>
              <a:gd name="connsiteY3" fmla="*/ 2071020 h 5143500"/>
              <a:gd name="connsiteX4" fmla="*/ 3031891 w 3667333"/>
              <a:gd name="connsiteY4" fmla="*/ 4217886 h 5143500"/>
              <a:gd name="connsiteX5" fmla="*/ 2462412 w 3667333"/>
              <a:gd name="connsiteY5" fmla="*/ 4719988 h 5143500"/>
              <a:gd name="connsiteX6" fmla="*/ 752359 w 3667333"/>
              <a:gd name="connsiteY6" fmla="*/ 5143500 h 5143500"/>
              <a:gd name="connsiteX7" fmla="*/ 0 w 3667333"/>
              <a:gd name="connsiteY7" fmla="*/ 3447865 h 5143500"/>
              <a:gd name="connsiteX8" fmla="*/ 327259 w 3667333"/>
              <a:gd name="connsiteY8" fmla="*/ 425100 h 5143500"/>
              <a:gd name="connsiteX0" fmla="*/ 327259 w 3691611"/>
              <a:gd name="connsiteY0" fmla="*/ 425100 h 5143500"/>
              <a:gd name="connsiteX1" fmla="*/ 2244274 w 3691611"/>
              <a:gd name="connsiteY1" fmla="*/ 0 h 5143500"/>
              <a:gd name="connsiteX2" fmla="*/ 3509121 w 3691611"/>
              <a:gd name="connsiteY2" fmla="*/ 1358598 h 5143500"/>
              <a:gd name="connsiteX3" fmla="*/ 3647908 w 3691611"/>
              <a:gd name="connsiteY3" fmla="*/ 2071020 h 5143500"/>
              <a:gd name="connsiteX4" fmla="*/ 3031891 w 3691611"/>
              <a:gd name="connsiteY4" fmla="*/ 4217886 h 5143500"/>
              <a:gd name="connsiteX5" fmla="*/ 2462412 w 3691611"/>
              <a:gd name="connsiteY5" fmla="*/ 4719988 h 5143500"/>
              <a:gd name="connsiteX6" fmla="*/ 752359 w 3691611"/>
              <a:gd name="connsiteY6" fmla="*/ 5143500 h 5143500"/>
              <a:gd name="connsiteX7" fmla="*/ 0 w 3691611"/>
              <a:gd name="connsiteY7" fmla="*/ 3447865 h 5143500"/>
              <a:gd name="connsiteX8" fmla="*/ 327259 w 3691611"/>
              <a:gd name="connsiteY8" fmla="*/ 425100 h 5143500"/>
              <a:gd name="connsiteX0" fmla="*/ 327259 w 3686530"/>
              <a:gd name="connsiteY0" fmla="*/ 425100 h 5143500"/>
              <a:gd name="connsiteX1" fmla="*/ 2244274 w 3686530"/>
              <a:gd name="connsiteY1" fmla="*/ 0 h 5143500"/>
              <a:gd name="connsiteX2" fmla="*/ 3509121 w 3686530"/>
              <a:gd name="connsiteY2" fmla="*/ 1358598 h 5143500"/>
              <a:gd name="connsiteX3" fmla="*/ 3636847 w 3686530"/>
              <a:gd name="connsiteY3" fmla="*/ 2096830 h 5143500"/>
              <a:gd name="connsiteX4" fmla="*/ 3031891 w 3686530"/>
              <a:gd name="connsiteY4" fmla="*/ 4217886 h 5143500"/>
              <a:gd name="connsiteX5" fmla="*/ 2462412 w 3686530"/>
              <a:gd name="connsiteY5" fmla="*/ 4719988 h 5143500"/>
              <a:gd name="connsiteX6" fmla="*/ 752359 w 3686530"/>
              <a:gd name="connsiteY6" fmla="*/ 5143500 h 5143500"/>
              <a:gd name="connsiteX7" fmla="*/ 0 w 3686530"/>
              <a:gd name="connsiteY7" fmla="*/ 3447865 h 5143500"/>
              <a:gd name="connsiteX8" fmla="*/ 327259 w 3686530"/>
              <a:gd name="connsiteY8" fmla="*/ 425100 h 5143500"/>
              <a:gd name="connsiteX0" fmla="*/ 327259 w 3703888"/>
              <a:gd name="connsiteY0" fmla="*/ 425100 h 5143500"/>
              <a:gd name="connsiteX1" fmla="*/ 2244274 w 3703888"/>
              <a:gd name="connsiteY1" fmla="*/ 0 h 5143500"/>
              <a:gd name="connsiteX2" fmla="*/ 3509121 w 3703888"/>
              <a:gd name="connsiteY2" fmla="*/ 1358598 h 5143500"/>
              <a:gd name="connsiteX3" fmla="*/ 3636847 w 3703888"/>
              <a:gd name="connsiteY3" fmla="*/ 2096830 h 5143500"/>
              <a:gd name="connsiteX4" fmla="*/ 3031891 w 3703888"/>
              <a:gd name="connsiteY4" fmla="*/ 4217886 h 5143500"/>
              <a:gd name="connsiteX5" fmla="*/ 2462412 w 3703888"/>
              <a:gd name="connsiteY5" fmla="*/ 4719988 h 5143500"/>
              <a:gd name="connsiteX6" fmla="*/ 752359 w 3703888"/>
              <a:gd name="connsiteY6" fmla="*/ 5143500 h 5143500"/>
              <a:gd name="connsiteX7" fmla="*/ 0 w 3703888"/>
              <a:gd name="connsiteY7" fmla="*/ 3447865 h 5143500"/>
              <a:gd name="connsiteX8" fmla="*/ 327259 w 3703888"/>
              <a:gd name="connsiteY8" fmla="*/ 425100 h 5143500"/>
              <a:gd name="connsiteX0" fmla="*/ 327259 w 3682668"/>
              <a:gd name="connsiteY0" fmla="*/ 425100 h 5143500"/>
              <a:gd name="connsiteX1" fmla="*/ 2244274 w 3682668"/>
              <a:gd name="connsiteY1" fmla="*/ 0 h 5143500"/>
              <a:gd name="connsiteX2" fmla="*/ 3461189 w 3682668"/>
              <a:gd name="connsiteY2" fmla="*/ 1310666 h 5143500"/>
              <a:gd name="connsiteX3" fmla="*/ 3636847 w 3682668"/>
              <a:gd name="connsiteY3" fmla="*/ 2096830 h 5143500"/>
              <a:gd name="connsiteX4" fmla="*/ 3031891 w 3682668"/>
              <a:gd name="connsiteY4" fmla="*/ 4217886 h 5143500"/>
              <a:gd name="connsiteX5" fmla="*/ 2462412 w 3682668"/>
              <a:gd name="connsiteY5" fmla="*/ 4719988 h 5143500"/>
              <a:gd name="connsiteX6" fmla="*/ 752359 w 3682668"/>
              <a:gd name="connsiteY6" fmla="*/ 5143500 h 5143500"/>
              <a:gd name="connsiteX7" fmla="*/ 0 w 3682668"/>
              <a:gd name="connsiteY7" fmla="*/ 3447865 h 5143500"/>
              <a:gd name="connsiteX8" fmla="*/ 327259 w 3682668"/>
              <a:gd name="connsiteY8" fmla="*/ 425100 h 5143500"/>
              <a:gd name="connsiteX0" fmla="*/ 327259 w 3693650"/>
              <a:gd name="connsiteY0" fmla="*/ 425100 h 5143500"/>
              <a:gd name="connsiteX1" fmla="*/ 2244274 w 3693650"/>
              <a:gd name="connsiteY1" fmla="*/ 0 h 5143500"/>
              <a:gd name="connsiteX2" fmla="*/ 3461189 w 3693650"/>
              <a:gd name="connsiteY2" fmla="*/ 1310666 h 5143500"/>
              <a:gd name="connsiteX3" fmla="*/ 3636847 w 3693650"/>
              <a:gd name="connsiteY3" fmla="*/ 2096830 h 5143500"/>
              <a:gd name="connsiteX4" fmla="*/ 3031891 w 3693650"/>
              <a:gd name="connsiteY4" fmla="*/ 4217886 h 5143500"/>
              <a:gd name="connsiteX5" fmla="*/ 2462412 w 3693650"/>
              <a:gd name="connsiteY5" fmla="*/ 4719988 h 5143500"/>
              <a:gd name="connsiteX6" fmla="*/ 752359 w 3693650"/>
              <a:gd name="connsiteY6" fmla="*/ 5143500 h 5143500"/>
              <a:gd name="connsiteX7" fmla="*/ 0 w 3693650"/>
              <a:gd name="connsiteY7" fmla="*/ 3447865 h 5143500"/>
              <a:gd name="connsiteX8" fmla="*/ 327259 w 3693650"/>
              <a:gd name="connsiteY8" fmla="*/ 425100 h 5143500"/>
              <a:gd name="connsiteX0" fmla="*/ 327259 w 3688927"/>
              <a:gd name="connsiteY0" fmla="*/ 425100 h 5143500"/>
              <a:gd name="connsiteX1" fmla="*/ 2244274 w 3688927"/>
              <a:gd name="connsiteY1" fmla="*/ 0 h 5143500"/>
              <a:gd name="connsiteX2" fmla="*/ 3461189 w 3688927"/>
              <a:gd name="connsiteY2" fmla="*/ 1310666 h 5143500"/>
              <a:gd name="connsiteX3" fmla="*/ 3636847 w 3688927"/>
              <a:gd name="connsiteY3" fmla="*/ 2096830 h 5143500"/>
              <a:gd name="connsiteX4" fmla="*/ 3031891 w 3688927"/>
              <a:gd name="connsiteY4" fmla="*/ 4217886 h 5143500"/>
              <a:gd name="connsiteX5" fmla="*/ 2462412 w 3688927"/>
              <a:gd name="connsiteY5" fmla="*/ 4719988 h 5143500"/>
              <a:gd name="connsiteX6" fmla="*/ 752359 w 3688927"/>
              <a:gd name="connsiteY6" fmla="*/ 5143500 h 5143500"/>
              <a:gd name="connsiteX7" fmla="*/ 0 w 3688927"/>
              <a:gd name="connsiteY7" fmla="*/ 3447865 h 5143500"/>
              <a:gd name="connsiteX8" fmla="*/ 327259 w 3688927"/>
              <a:gd name="connsiteY8" fmla="*/ 425100 h 5143500"/>
              <a:gd name="connsiteX0" fmla="*/ 327259 w 3693208"/>
              <a:gd name="connsiteY0" fmla="*/ 425100 h 5143500"/>
              <a:gd name="connsiteX1" fmla="*/ 2244274 w 3693208"/>
              <a:gd name="connsiteY1" fmla="*/ 0 h 5143500"/>
              <a:gd name="connsiteX2" fmla="*/ 3472251 w 3693208"/>
              <a:gd name="connsiteY2" fmla="*/ 1318040 h 5143500"/>
              <a:gd name="connsiteX3" fmla="*/ 3636847 w 3693208"/>
              <a:gd name="connsiteY3" fmla="*/ 2096830 h 5143500"/>
              <a:gd name="connsiteX4" fmla="*/ 3031891 w 3693208"/>
              <a:gd name="connsiteY4" fmla="*/ 4217886 h 5143500"/>
              <a:gd name="connsiteX5" fmla="*/ 2462412 w 3693208"/>
              <a:gd name="connsiteY5" fmla="*/ 4719988 h 5143500"/>
              <a:gd name="connsiteX6" fmla="*/ 752359 w 3693208"/>
              <a:gd name="connsiteY6" fmla="*/ 5143500 h 5143500"/>
              <a:gd name="connsiteX7" fmla="*/ 0 w 3693208"/>
              <a:gd name="connsiteY7" fmla="*/ 3447865 h 5143500"/>
              <a:gd name="connsiteX8" fmla="*/ 327259 w 3693208"/>
              <a:gd name="connsiteY8" fmla="*/ 425100 h 5143500"/>
              <a:gd name="connsiteX0" fmla="*/ 327259 w 3689737"/>
              <a:gd name="connsiteY0" fmla="*/ 425100 h 5143500"/>
              <a:gd name="connsiteX1" fmla="*/ 2244274 w 3689737"/>
              <a:gd name="connsiteY1" fmla="*/ 0 h 5143500"/>
              <a:gd name="connsiteX2" fmla="*/ 3472251 w 3689737"/>
              <a:gd name="connsiteY2" fmla="*/ 1318040 h 5143500"/>
              <a:gd name="connsiteX3" fmla="*/ 3636847 w 3689737"/>
              <a:gd name="connsiteY3" fmla="*/ 2096830 h 5143500"/>
              <a:gd name="connsiteX4" fmla="*/ 3031891 w 3689737"/>
              <a:gd name="connsiteY4" fmla="*/ 4217886 h 5143500"/>
              <a:gd name="connsiteX5" fmla="*/ 2462412 w 3689737"/>
              <a:gd name="connsiteY5" fmla="*/ 4719988 h 5143500"/>
              <a:gd name="connsiteX6" fmla="*/ 752359 w 3689737"/>
              <a:gd name="connsiteY6" fmla="*/ 5143500 h 5143500"/>
              <a:gd name="connsiteX7" fmla="*/ 0 w 3689737"/>
              <a:gd name="connsiteY7" fmla="*/ 3447865 h 5143500"/>
              <a:gd name="connsiteX8" fmla="*/ 327259 w 3689737"/>
              <a:gd name="connsiteY8" fmla="*/ 425100 h 5143500"/>
              <a:gd name="connsiteX0" fmla="*/ 327259 w 3692863"/>
              <a:gd name="connsiteY0" fmla="*/ 425100 h 5143500"/>
              <a:gd name="connsiteX1" fmla="*/ 2244274 w 3692863"/>
              <a:gd name="connsiteY1" fmla="*/ 0 h 5143500"/>
              <a:gd name="connsiteX2" fmla="*/ 3472251 w 3692863"/>
              <a:gd name="connsiteY2" fmla="*/ 1318040 h 5143500"/>
              <a:gd name="connsiteX3" fmla="*/ 3636847 w 3692863"/>
              <a:gd name="connsiteY3" fmla="*/ 2096830 h 5143500"/>
              <a:gd name="connsiteX4" fmla="*/ 3031891 w 3692863"/>
              <a:gd name="connsiteY4" fmla="*/ 4217886 h 5143500"/>
              <a:gd name="connsiteX5" fmla="*/ 2462412 w 3692863"/>
              <a:gd name="connsiteY5" fmla="*/ 4719988 h 5143500"/>
              <a:gd name="connsiteX6" fmla="*/ 752359 w 3692863"/>
              <a:gd name="connsiteY6" fmla="*/ 5143500 h 5143500"/>
              <a:gd name="connsiteX7" fmla="*/ 0 w 3692863"/>
              <a:gd name="connsiteY7" fmla="*/ 3447865 h 5143500"/>
              <a:gd name="connsiteX8" fmla="*/ 327259 w 3692863"/>
              <a:gd name="connsiteY8" fmla="*/ 425100 h 5143500"/>
              <a:gd name="connsiteX0" fmla="*/ 327259 w 3697188"/>
              <a:gd name="connsiteY0" fmla="*/ 425100 h 5143500"/>
              <a:gd name="connsiteX1" fmla="*/ 2244274 w 3697188"/>
              <a:gd name="connsiteY1" fmla="*/ 0 h 5143500"/>
              <a:gd name="connsiteX2" fmla="*/ 3483312 w 3697188"/>
              <a:gd name="connsiteY2" fmla="*/ 1325414 h 5143500"/>
              <a:gd name="connsiteX3" fmla="*/ 3636847 w 3697188"/>
              <a:gd name="connsiteY3" fmla="*/ 2096830 h 5143500"/>
              <a:gd name="connsiteX4" fmla="*/ 3031891 w 3697188"/>
              <a:gd name="connsiteY4" fmla="*/ 4217886 h 5143500"/>
              <a:gd name="connsiteX5" fmla="*/ 2462412 w 3697188"/>
              <a:gd name="connsiteY5" fmla="*/ 4719988 h 5143500"/>
              <a:gd name="connsiteX6" fmla="*/ 752359 w 3697188"/>
              <a:gd name="connsiteY6" fmla="*/ 5143500 h 5143500"/>
              <a:gd name="connsiteX7" fmla="*/ 0 w 3697188"/>
              <a:gd name="connsiteY7" fmla="*/ 3447865 h 5143500"/>
              <a:gd name="connsiteX8" fmla="*/ 327259 w 3697188"/>
              <a:gd name="connsiteY8" fmla="*/ 425100 h 5143500"/>
              <a:gd name="connsiteX0" fmla="*/ 327259 w 3687052"/>
              <a:gd name="connsiteY0" fmla="*/ 425100 h 5143500"/>
              <a:gd name="connsiteX1" fmla="*/ 2244274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63749 w 3423542"/>
              <a:gd name="connsiteY0" fmla="*/ 425100 h 5150874"/>
              <a:gd name="connsiteX1" fmla="*/ 1947580 w 3423542"/>
              <a:gd name="connsiteY1" fmla="*/ 0 h 5150874"/>
              <a:gd name="connsiteX2" fmla="*/ 3219802 w 3423542"/>
              <a:gd name="connsiteY2" fmla="*/ 1325414 h 5150874"/>
              <a:gd name="connsiteX3" fmla="*/ 3373337 w 3423542"/>
              <a:gd name="connsiteY3" fmla="*/ 2096830 h 5150874"/>
              <a:gd name="connsiteX4" fmla="*/ 2749946 w 3423542"/>
              <a:gd name="connsiteY4" fmla="*/ 4225261 h 5150874"/>
              <a:gd name="connsiteX5" fmla="*/ 2198902 w 3423542"/>
              <a:gd name="connsiteY5" fmla="*/ 4719988 h 5150874"/>
              <a:gd name="connsiteX6" fmla="*/ 433542 w 3423542"/>
              <a:gd name="connsiteY6" fmla="*/ 5150874 h 5150874"/>
              <a:gd name="connsiteX7" fmla="*/ 60954 w 3423542"/>
              <a:gd name="connsiteY7" fmla="*/ 5143930 h 5150874"/>
              <a:gd name="connsiteX8" fmla="*/ 63749 w 3423542"/>
              <a:gd name="connsiteY8" fmla="*/ 425100 h 5150874"/>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2795 w 3362588"/>
              <a:gd name="connsiteY0" fmla="*/ 425100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2795 w 3362588"/>
              <a:gd name="connsiteY8" fmla="*/ 425100 h 5147187"/>
              <a:gd name="connsiteX0" fmla="*/ 2795 w 3362588"/>
              <a:gd name="connsiteY0" fmla="*/ 0 h 5160852"/>
              <a:gd name="connsiteX1" fmla="*/ 1886626 w 3362588"/>
              <a:gd name="connsiteY1" fmla="*/ 13665 h 5160852"/>
              <a:gd name="connsiteX2" fmla="*/ 3158848 w 3362588"/>
              <a:gd name="connsiteY2" fmla="*/ 1339079 h 5160852"/>
              <a:gd name="connsiteX3" fmla="*/ 3312383 w 3362588"/>
              <a:gd name="connsiteY3" fmla="*/ 2110495 h 5160852"/>
              <a:gd name="connsiteX4" fmla="*/ 2688992 w 3362588"/>
              <a:gd name="connsiteY4" fmla="*/ 4238926 h 5160852"/>
              <a:gd name="connsiteX5" fmla="*/ 2137948 w 3362588"/>
              <a:gd name="connsiteY5" fmla="*/ 4733653 h 5160852"/>
              <a:gd name="connsiteX6" fmla="*/ 379962 w 3362588"/>
              <a:gd name="connsiteY6" fmla="*/ 5160852 h 5160852"/>
              <a:gd name="connsiteX7" fmla="*/ 0 w 3362588"/>
              <a:gd name="connsiteY7" fmla="*/ 5157595 h 5160852"/>
              <a:gd name="connsiteX8" fmla="*/ 2795 w 3362588"/>
              <a:gd name="connsiteY8" fmla="*/ 0 h 5160852"/>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6482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6482 w 3362588"/>
              <a:gd name="connsiteY8" fmla="*/ 0 h 5149790"/>
              <a:gd name="connsiteX0" fmla="*/ 6482 w 3362588"/>
              <a:gd name="connsiteY0" fmla="*/ 572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6482 w 3362588"/>
              <a:gd name="connsiteY8" fmla="*/ 572 h 5147187"/>
              <a:gd name="connsiteX0" fmla="*/ 132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132 w 3362588"/>
              <a:gd name="connsiteY8" fmla="*/ 3747 h 5147187"/>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3307 w 3362588"/>
              <a:gd name="connsiteY8" fmla="*/ 3747 h 5147187"/>
              <a:gd name="connsiteX0" fmla="*/ 3307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3307 w 3362588"/>
              <a:gd name="connsiteY8" fmla="*/ 0 h 514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2588" h="5149790">
                <a:moveTo>
                  <a:pt x="3307" y="0"/>
                </a:moveTo>
                <a:cubicBezTo>
                  <a:pt x="6994" y="4885"/>
                  <a:pt x="1651850" y="2603"/>
                  <a:pt x="1886626" y="2603"/>
                </a:cubicBezTo>
                <a:lnTo>
                  <a:pt x="3158848" y="1328017"/>
                </a:lnTo>
                <a:cubicBezTo>
                  <a:pt x="3415745" y="1619297"/>
                  <a:pt x="3382438" y="1827787"/>
                  <a:pt x="3312383" y="2099433"/>
                </a:cubicBezTo>
                <a:cubicBezTo>
                  <a:pt x="3139128" y="2654634"/>
                  <a:pt x="2781364" y="3951175"/>
                  <a:pt x="2688992" y="4227864"/>
                </a:cubicBezTo>
                <a:cubicBezTo>
                  <a:pt x="2582066" y="4525320"/>
                  <a:pt x="2475962" y="4619353"/>
                  <a:pt x="2137948" y="4722591"/>
                </a:cubicBezTo>
                <a:lnTo>
                  <a:pt x="379962" y="5149790"/>
                </a:lnTo>
                <a:cubicBezTo>
                  <a:pt x="384848" y="5146103"/>
                  <a:pt x="7374" y="5149022"/>
                  <a:pt x="0" y="5146533"/>
                </a:cubicBezTo>
                <a:cubicBezTo>
                  <a:pt x="3390" y="5151668"/>
                  <a:pt x="3605" y="9614"/>
                  <a:pt x="3307" y="0"/>
                </a:cubicBezTo>
                <a:close/>
              </a:path>
            </a:pathLst>
          </a:custGeom>
        </p:spPr>
      </p:pic>
      <p:pic>
        <p:nvPicPr>
          <p:cNvPr id="10" name="Picture 9"/>
          <p:cNvPicPr>
            <a:picLocks noChangeAspect="1"/>
          </p:cNvPicPr>
          <p:nvPr/>
        </p:nvPicPr>
        <p:blipFill>
          <a:blip r:embed="rId8"/>
          <a:stretch>
            <a:fillRect/>
          </a:stretch>
        </p:blipFill>
        <p:spPr>
          <a:xfrm>
            <a:off x="4281393" y="1782709"/>
            <a:ext cx="665142" cy="742428"/>
          </a:xfrm>
          <a:prstGeom prst="rect">
            <a:avLst/>
          </a:prstGeom>
        </p:spPr>
      </p:pic>
      <p:pic>
        <p:nvPicPr>
          <p:cNvPr id="11" name="Picture 10"/>
          <p:cNvPicPr>
            <a:picLocks noChangeAspect="1"/>
          </p:cNvPicPr>
          <p:nvPr/>
        </p:nvPicPr>
        <p:blipFill>
          <a:blip r:embed="rId9"/>
          <a:stretch>
            <a:fillRect/>
          </a:stretch>
        </p:blipFill>
        <p:spPr>
          <a:xfrm>
            <a:off x="3948822" y="2403390"/>
            <a:ext cx="665142" cy="742428"/>
          </a:xfrm>
          <a:prstGeom prst="rect">
            <a:avLst/>
          </a:prstGeom>
        </p:spPr>
      </p:pic>
      <p:pic>
        <p:nvPicPr>
          <p:cNvPr id="12" name="Picture 11"/>
          <p:cNvPicPr>
            <a:picLocks noChangeAspect="1"/>
          </p:cNvPicPr>
          <p:nvPr/>
        </p:nvPicPr>
        <p:blipFill>
          <a:blip r:embed="rId8"/>
          <a:stretch>
            <a:fillRect/>
          </a:stretch>
        </p:blipFill>
        <p:spPr>
          <a:xfrm>
            <a:off x="4281393" y="3024071"/>
            <a:ext cx="665142" cy="742428"/>
          </a:xfrm>
          <a:prstGeom prst="rect">
            <a:avLst/>
          </a:prstGeom>
        </p:spPr>
      </p:pic>
      <p:sp>
        <p:nvSpPr>
          <p:cNvPr id="15" name="TextBox 14"/>
          <p:cNvSpPr txBox="1"/>
          <p:nvPr/>
        </p:nvSpPr>
        <p:spPr>
          <a:xfrm>
            <a:off x="4457511" y="1966637"/>
            <a:ext cx="312906" cy="369332"/>
          </a:xfrm>
          <a:prstGeom prst="rect">
            <a:avLst/>
          </a:prstGeom>
          <a:noFill/>
        </p:spPr>
        <p:txBody>
          <a:bodyPr wrap="none" rtlCol="0">
            <a:spAutoFit/>
          </a:bodyPr>
          <a:lstStyle/>
          <a:p>
            <a:r>
              <a:rPr lang="en-GB" b="1" dirty="0" smtClean="0">
                <a:solidFill>
                  <a:schemeClr val="bg1"/>
                </a:solidFill>
                <a:latin typeface="Arial" panose="020B0604020202020204" pitchFamily="34" charset="0"/>
                <a:cs typeface="Arial" panose="020B0604020202020204" pitchFamily="34" charset="0"/>
              </a:rPr>
              <a:t>1</a:t>
            </a:r>
            <a:endParaRPr lang="en-GB" b="1" dirty="0">
              <a:solidFill>
                <a:schemeClr val="bg1"/>
              </a:solidFill>
              <a:latin typeface="Arial" panose="020B0604020202020204" pitchFamily="34" charset="0"/>
              <a:cs typeface="Arial" panose="020B0604020202020204" pitchFamily="34" charset="0"/>
            </a:endParaRPr>
          </a:p>
        </p:txBody>
      </p:sp>
      <p:sp>
        <p:nvSpPr>
          <p:cNvPr id="16" name="TextBox 15"/>
          <p:cNvSpPr txBox="1"/>
          <p:nvPr/>
        </p:nvSpPr>
        <p:spPr>
          <a:xfrm>
            <a:off x="4124940" y="2560586"/>
            <a:ext cx="312906" cy="369332"/>
          </a:xfrm>
          <a:prstGeom prst="rect">
            <a:avLst/>
          </a:prstGeom>
          <a:noFill/>
        </p:spPr>
        <p:txBody>
          <a:bodyPr wrap="none" rtlCol="0">
            <a:spAutoFit/>
          </a:bodyPr>
          <a:lstStyle/>
          <a:p>
            <a:r>
              <a:rPr lang="en-GB" b="1" dirty="0" smtClean="0">
                <a:solidFill>
                  <a:schemeClr val="bg1"/>
                </a:solidFill>
                <a:latin typeface="Arial" panose="020B0604020202020204" pitchFamily="34" charset="0"/>
                <a:cs typeface="Arial" panose="020B0604020202020204" pitchFamily="34" charset="0"/>
              </a:rPr>
              <a:t>2</a:t>
            </a:r>
            <a:endParaRPr lang="en-GB" b="1" dirty="0">
              <a:solidFill>
                <a:schemeClr val="bg1"/>
              </a:solidFill>
              <a:latin typeface="Arial" panose="020B0604020202020204" pitchFamily="34" charset="0"/>
              <a:cs typeface="Arial" panose="020B0604020202020204" pitchFamily="34" charset="0"/>
            </a:endParaRPr>
          </a:p>
        </p:txBody>
      </p:sp>
      <p:sp>
        <p:nvSpPr>
          <p:cNvPr id="17" name="TextBox 16"/>
          <p:cNvSpPr txBox="1"/>
          <p:nvPr/>
        </p:nvSpPr>
        <p:spPr>
          <a:xfrm>
            <a:off x="4457511" y="3209352"/>
            <a:ext cx="312906" cy="369332"/>
          </a:xfrm>
          <a:prstGeom prst="rect">
            <a:avLst/>
          </a:prstGeom>
          <a:noFill/>
        </p:spPr>
        <p:txBody>
          <a:bodyPr wrap="none" rtlCol="0">
            <a:spAutoFit/>
          </a:bodyPr>
          <a:lstStyle/>
          <a:p>
            <a:r>
              <a:rPr lang="en-GB" b="1" dirty="0" smtClean="0">
                <a:solidFill>
                  <a:schemeClr val="bg1"/>
                </a:solidFill>
                <a:latin typeface="Arial" panose="020B0604020202020204" pitchFamily="34" charset="0"/>
                <a:cs typeface="Arial" panose="020B0604020202020204" pitchFamily="34" charset="0"/>
              </a:rPr>
              <a:t>3</a:t>
            </a:r>
            <a:endParaRPr lang="en-GB" b="1" dirty="0">
              <a:solidFill>
                <a:schemeClr val="bg1"/>
              </a:solidFill>
              <a:latin typeface="Arial" panose="020B0604020202020204" pitchFamily="34" charset="0"/>
              <a:cs typeface="Arial" panose="020B0604020202020204" pitchFamily="34" charset="0"/>
            </a:endParaRPr>
          </a:p>
        </p:txBody>
      </p:sp>
      <p:sp>
        <p:nvSpPr>
          <p:cNvPr id="18" name="TextBox 17"/>
          <p:cNvSpPr txBox="1"/>
          <p:nvPr/>
        </p:nvSpPr>
        <p:spPr>
          <a:xfrm>
            <a:off x="4124357" y="4034320"/>
            <a:ext cx="312906" cy="369332"/>
          </a:xfrm>
          <a:prstGeom prst="rect">
            <a:avLst/>
          </a:prstGeom>
          <a:noFill/>
        </p:spPr>
        <p:txBody>
          <a:bodyPr wrap="none" rtlCol="0">
            <a:spAutoFit/>
          </a:bodyPr>
          <a:lstStyle/>
          <a:p>
            <a:r>
              <a:rPr lang="en-GB" b="1" dirty="0" smtClean="0">
                <a:solidFill>
                  <a:schemeClr val="bg1"/>
                </a:solidFill>
                <a:latin typeface="Arial" panose="020B0604020202020204" pitchFamily="34" charset="0"/>
                <a:cs typeface="Arial" panose="020B0604020202020204" pitchFamily="34" charset="0"/>
              </a:rPr>
              <a:t>4</a:t>
            </a:r>
            <a:endParaRPr lang="en-GB" b="1" dirty="0">
              <a:solidFill>
                <a:schemeClr val="bg1"/>
              </a:solidFill>
              <a:latin typeface="Arial" panose="020B0604020202020204" pitchFamily="34" charset="0"/>
              <a:cs typeface="Arial" panose="020B0604020202020204" pitchFamily="34" charset="0"/>
            </a:endParaRPr>
          </a:p>
        </p:txBody>
      </p:sp>
      <p:sp>
        <p:nvSpPr>
          <p:cNvPr id="20" name="Title 2"/>
          <p:cNvSpPr txBox="1">
            <a:spLocks/>
          </p:cNvSpPr>
          <p:nvPr/>
        </p:nvSpPr>
        <p:spPr>
          <a:xfrm>
            <a:off x="5050447" y="1959458"/>
            <a:ext cx="3615571" cy="376512"/>
          </a:xfrm>
          <a:prstGeom prst="rect">
            <a:avLst/>
          </a:prstGeom>
        </p:spPr>
        <p:txBody>
          <a:bodyPr vert="horz" lIns="91440" tIns="45720" rIns="91440" bIns="45720" rtlCol="0" anchor="t" anchorCtr="0">
            <a:noAutofit/>
          </a:bodyPr>
          <a:lstStyle>
            <a:lvl1pPr algn="l" defTabSz="685800" rtl="0" eaLnBrk="1" latinLnBrk="0" hangingPunct="1">
              <a:spcBef>
                <a:spcPct val="0"/>
              </a:spcBef>
              <a:buNone/>
              <a:defRPr sz="2000" b="1" i="0" kern="1200">
                <a:solidFill>
                  <a:srgbClr val="00ACD4"/>
                </a:solidFill>
                <a:latin typeface="Arial" charset="0"/>
                <a:ea typeface="Arial" charset="0"/>
                <a:cs typeface="Arial" charset="0"/>
              </a:defRPr>
            </a:lvl1pPr>
          </a:lstStyle>
          <a:p>
            <a:r>
              <a:rPr lang="en-US" sz="1400" dirty="0" smtClean="0">
                <a:solidFill>
                  <a:srgbClr val="193C6C"/>
                </a:solidFill>
              </a:rPr>
              <a:t>Africa’s mobile money sleeping giants</a:t>
            </a:r>
            <a:endParaRPr lang="en-US" sz="1400" dirty="0">
              <a:solidFill>
                <a:srgbClr val="193C6C"/>
              </a:solidFill>
            </a:endParaRPr>
          </a:p>
        </p:txBody>
      </p:sp>
      <p:sp>
        <p:nvSpPr>
          <p:cNvPr id="21" name="Title 2"/>
          <p:cNvSpPr txBox="1">
            <a:spLocks/>
          </p:cNvSpPr>
          <p:nvPr/>
        </p:nvSpPr>
        <p:spPr>
          <a:xfrm>
            <a:off x="5050447" y="3227725"/>
            <a:ext cx="3615571" cy="376512"/>
          </a:xfrm>
          <a:prstGeom prst="rect">
            <a:avLst/>
          </a:prstGeom>
        </p:spPr>
        <p:txBody>
          <a:bodyPr vert="horz" lIns="91440" tIns="45720" rIns="91440" bIns="45720" rtlCol="0" anchor="t" anchorCtr="0">
            <a:noAutofit/>
          </a:bodyPr>
          <a:lstStyle>
            <a:lvl1pPr algn="l" defTabSz="685800" rtl="0" eaLnBrk="1" latinLnBrk="0" hangingPunct="1">
              <a:spcBef>
                <a:spcPct val="0"/>
              </a:spcBef>
              <a:buNone/>
              <a:defRPr sz="2000" b="1" i="0" kern="1200">
                <a:solidFill>
                  <a:srgbClr val="00ACD4"/>
                </a:solidFill>
                <a:latin typeface="Arial" charset="0"/>
                <a:ea typeface="Arial" charset="0"/>
                <a:cs typeface="Arial" charset="0"/>
              </a:defRPr>
            </a:lvl1pPr>
          </a:lstStyle>
          <a:p>
            <a:r>
              <a:rPr lang="en-US" sz="1400" dirty="0" smtClean="0">
                <a:solidFill>
                  <a:srgbClr val="193C6C"/>
                </a:solidFill>
              </a:rPr>
              <a:t>The untapped smartphone opportunity </a:t>
            </a:r>
            <a:endParaRPr lang="en-US" sz="1400" dirty="0">
              <a:solidFill>
                <a:srgbClr val="193C6C"/>
              </a:solidFill>
            </a:endParaRPr>
          </a:p>
        </p:txBody>
      </p:sp>
      <p:sp>
        <p:nvSpPr>
          <p:cNvPr id="22" name="Title 2"/>
          <p:cNvSpPr txBox="1">
            <a:spLocks/>
          </p:cNvSpPr>
          <p:nvPr/>
        </p:nvSpPr>
        <p:spPr>
          <a:xfrm>
            <a:off x="4761423" y="2544972"/>
            <a:ext cx="3928609" cy="376512"/>
          </a:xfrm>
          <a:prstGeom prst="rect">
            <a:avLst/>
          </a:prstGeom>
        </p:spPr>
        <p:txBody>
          <a:bodyPr vert="horz" lIns="91440" tIns="45720" rIns="91440" bIns="45720" rtlCol="0" anchor="t" anchorCtr="0">
            <a:noAutofit/>
          </a:bodyPr>
          <a:lstStyle>
            <a:lvl1pPr algn="l" defTabSz="685800" rtl="0" eaLnBrk="1" latinLnBrk="0" hangingPunct="1">
              <a:spcBef>
                <a:spcPct val="0"/>
              </a:spcBef>
              <a:buNone/>
              <a:defRPr sz="2000" b="1" i="0" kern="1200">
                <a:solidFill>
                  <a:srgbClr val="00ACD4"/>
                </a:solidFill>
                <a:latin typeface="Arial" charset="0"/>
                <a:ea typeface="Arial" charset="0"/>
                <a:cs typeface="Arial" charset="0"/>
              </a:defRPr>
            </a:lvl1pPr>
          </a:lstStyle>
          <a:p>
            <a:r>
              <a:rPr lang="en-GB" sz="1400" dirty="0"/>
              <a:t>Sectors on the cusp of transformation: MSME and e-commerce</a:t>
            </a:r>
            <a:endParaRPr lang="en-US" sz="1400" dirty="0"/>
          </a:p>
        </p:txBody>
      </p:sp>
      <p:pic>
        <p:nvPicPr>
          <p:cNvPr id="24" name="Picture 23">
            <a:extLst>
              <a:ext uri="{FF2B5EF4-FFF2-40B4-BE49-F238E27FC236}">
                <a16:creationId xmlns:a16="http://schemas.microsoft.com/office/drawing/2014/main" id="{D1BBFB28-B1AF-C249-BB63-0D06D590D12F}"/>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247323" y="275686"/>
            <a:ext cx="534416" cy="534416"/>
          </a:xfrm>
          <a:prstGeom prst="rect">
            <a:avLst/>
          </a:prstGeom>
        </p:spPr>
      </p:pic>
    </p:spTree>
    <p:extLst>
      <p:ext uri="{BB962C8B-B14F-4D97-AF65-F5344CB8AC3E}">
        <p14:creationId xmlns:p14="http://schemas.microsoft.com/office/powerpoint/2010/main" val="10768824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2"/>
          <a:stretch>
            <a:fillRect/>
          </a:stretch>
        </p:blipFill>
        <p:spPr>
          <a:xfrm>
            <a:off x="141503" y="4267580"/>
            <a:ext cx="6062985" cy="268142"/>
          </a:xfrm>
          <a:prstGeom prst="rect">
            <a:avLst/>
          </a:prstGeom>
        </p:spPr>
      </p:pic>
      <p:sp>
        <p:nvSpPr>
          <p:cNvPr id="19" name="Title 3"/>
          <p:cNvSpPr>
            <a:spLocks noGrp="1"/>
          </p:cNvSpPr>
          <p:nvPr>
            <p:ph type="title" idx="4294967295"/>
          </p:nvPr>
        </p:nvSpPr>
        <p:spPr>
          <a:xfrm>
            <a:off x="914400" y="302029"/>
            <a:ext cx="8229600" cy="431800"/>
          </a:xfrm>
          <a:prstGeom prst="rect">
            <a:avLst/>
          </a:prstGeom>
        </p:spPr>
        <p:txBody>
          <a:bodyPr>
            <a:noAutofit/>
          </a:bodyPr>
          <a:lstStyle/>
          <a:p>
            <a:r>
              <a:rPr lang="en-GB" sz="1600" b="1" dirty="0" smtClean="0">
                <a:solidFill>
                  <a:srgbClr val="00ACD4"/>
                </a:solidFill>
                <a:latin typeface="Arial" panose="020B0604020202020204" pitchFamily="34" charset="0"/>
                <a:cs typeface="Arial" panose="020B0604020202020204" pitchFamily="34" charset="0"/>
              </a:rPr>
              <a:t>Africa’s </a:t>
            </a:r>
            <a:r>
              <a:rPr lang="en-GB" sz="1600" b="1" dirty="0">
                <a:solidFill>
                  <a:srgbClr val="00ACD4"/>
                </a:solidFill>
                <a:latin typeface="Arial" panose="020B0604020202020204" pitchFamily="34" charset="0"/>
                <a:cs typeface="Arial" panose="020B0604020202020204" pitchFamily="34" charset="0"/>
              </a:rPr>
              <a:t>mobile money sleeping </a:t>
            </a:r>
            <a:r>
              <a:rPr lang="en-GB" sz="1600" b="1" dirty="0" smtClean="0">
                <a:solidFill>
                  <a:srgbClr val="00ACD4"/>
                </a:solidFill>
                <a:latin typeface="Arial" panose="020B0604020202020204" pitchFamily="34" charset="0"/>
                <a:cs typeface="Arial" panose="020B0604020202020204" pitchFamily="34" charset="0"/>
              </a:rPr>
              <a:t>giants: Egypt, Ethiopia and Nigeria, have the potential to unlock over 110m accounts in </a:t>
            </a:r>
            <a:r>
              <a:rPr lang="en-GB" sz="1600" b="1" dirty="0">
                <a:solidFill>
                  <a:srgbClr val="00ACD4"/>
                </a:solidFill>
                <a:latin typeface="Arial" panose="020B0604020202020204" pitchFamily="34" charset="0"/>
                <a:cs typeface="Arial" panose="020B0604020202020204" pitchFamily="34" charset="0"/>
              </a:rPr>
              <a:t>the next five </a:t>
            </a:r>
            <a:r>
              <a:rPr lang="en-GB" sz="1600" b="1" dirty="0" smtClean="0">
                <a:solidFill>
                  <a:srgbClr val="00ACD4"/>
                </a:solidFill>
                <a:latin typeface="Arial" panose="020B0604020202020204" pitchFamily="34" charset="0"/>
                <a:cs typeface="Arial" panose="020B0604020202020204" pitchFamily="34" charset="0"/>
              </a:rPr>
              <a:t>years.</a:t>
            </a:r>
            <a:r>
              <a:rPr lang="en-GB" sz="1600" dirty="0">
                <a:latin typeface="Arial" panose="020B0604020202020204" pitchFamily="34" charset="0"/>
                <a:cs typeface="Arial" panose="020B0604020202020204" pitchFamily="34" charset="0"/>
              </a:rPr>
              <a:t/>
            </a:r>
            <a:br>
              <a:rPr lang="en-GB" sz="1600" dirty="0">
                <a:latin typeface="Arial" panose="020B0604020202020204" pitchFamily="34" charset="0"/>
                <a:cs typeface="Arial" panose="020B0604020202020204" pitchFamily="34" charset="0"/>
              </a:rPr>
            </a:br>
            <a:endParaRPr lang="en-US" sz="1600" dirty="0">
              <a:latin typeface="Arial" panose="020B0604020202020204" pitchFamily="34" charset="0"/>
              <a:cs typeface="Arial" panose="020B0604020202020204" pitchFamily="34" charset="0"/>
            </a:endParaRPr>
          </a:p>
        </p:txBody>
      </p:sp>
      <p:pic>
        <p:nvPicPr>
          <p:cNvPr id="21" name="Picture 20"/>
          <p:cNvPicPr>
            <a:picLocks noChangeAspect="1"/>
          </p:cNvPicPr>
          <p:nvPr/>
        </p:nvPicPr>
        <p:blipFill rotWithShape="1">
          <a:blip r:embed="rId3"/>
          <a:srcRect l="34211" t="27140" r="10684" b="36088"/>
          <a:stretch/>
        </p:blipFill>
        <p:spPr>
          <a:xfrm>
            <a:off x="296858" y="1241791"/>
            <a:ext cx="8389942" cy="3149234"/>
          </a:xfrm>
          <a:prstGeom prst="rect">
            <a:avLst/>
          </a:prstGeom>
        </p:spPr>
      </p:pic>
      <p:pic>
        <p:nvPicPr>
          <p:cNvPr id="2" name="Picture 1"/>
          <p:cNvPicPr>
            <a:picLocks noChangeAspect="1"/>
          </p:cNvPicPr>
          <p:nvPr/>
        </p:nvPicPr>
        <p:blipFill>
          <a:blip r:embed="rId4"/>
          <a:stretch>
            <a:fillRect/>
          </a:stretch>
        </p:blipFill>
        <p:spPr>
          <a:xfrm>
            <a:off x="5731625" y="4167828"/>
            <a:ext cx="3412375" cy="975672"/>
          </a:xfrm>
          <a:prstGeom prst="rect">
            <a:avLst/>
          </a:prstGeom>
        </p:spPr>
      </p:pic>
    </p:spTree>
    <p:extLst>
      <p:ext uri="{BB962C8B-B14F-4D97-AF65-F5344CB8AC3E}">
        <p14:creationId xmlns:p14="http://schemas.microsoft.com/office/powerpoint/2010/main" val="72542205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731625" y="4167828"/>
            <a:ext cx="3412375" cy="975672"/>
          </a:xfrm>
          <a:prstGeom prst="rect">
            <a:avLst/>
          </a:prstGeom>
          <a:solidFill>
            <a:srgbClr val="FFFFFF"/>
          </a:solidFill>
        </p:spPr>
      </p:pic>
      <p:sp>
        <p:nvSpPr>
          <p:cNvPr id="6" name="Title 2"/>
          <p:cNvSpPr>
            <a:spLocks noGrp="1"/>
          </p:cNvSpPr>
          <p:nvPr>
            <p:ph type="title" idx="4294967295"/>
          </p:nvPr>
        </p:nvSpPr>
        <p:spPr>
          <a:xfrm>
            <a:off x="3691043" y="351381"/>
            <a:ext cx="4967287" cy="458721"/>
          </a:xfrm>
          <a:prstGeom prst="rect">
            <a:avLst/>
          </a:prstGeom>
        </p:spPr>
        <p:txBody>
          <a:bodyPr>
            <a:noAutofit/>
          </a:bodyPr>
          <a:lstStyle/>
          <a:p>
            <a:r>
              <a:rPr lang="en-GB" sz="1600" b="1" dirty="0">
                <a:solidFill>
                  <a:srgbClr val="00ACD4"/>
                </a:solidFill>
                <a:latin typeface="Arial" panose="020B0604020202020204" pitchFamily="34" charset="0"/>
                <a:cs typeface="Arial" panose="020B0604020202020204" pitchFamily="34" charset="0"/>
              </a:rPr>
              <a:t>Sectors on the cusp of transformation: MSME and e-commerce</a:t>
            </a:r>
          </a:p>
        </p:txBody>
      </p:sp>
      <p:sp>
        <p:nvSpPr>
          <p:cNvPr id="7" name="Content Placeholder 2"/>
          <p:cNvSpPr txBox="1">
            <a:spLocks/>
          </p:cNvSpPr>
          <p:nvPr/>
        </p:nvSpPr>
        <p:spPr>
          <a:xfrm>
            <a:off x="3793576" y="1340602"/>
            <a:ext cx="5259937" cy="1664527"/>
          </a:xfrm>
          <a:prstGeom prst="rect">
            <a:avLst/>
          </a:prstGeom>
          <a:solidFill>
            <a:srgbClr val="FFFFFF"/>
          </a:solidFill>
        </p:spPr>
        <p:txBody>
          <a:bodyPr vert="horz" lIns="91440" tIns="45720" rIns="91440" bIns="45720" rtlCol="0">
            <a:noAutofit/>
          </a:bodyPr>
          <a:lstStyle>
            <a:lvl1pPr marL="0" indent="0" algn="l" defTabSz="685800" rtl="0" eaLnBrk="1" latinLnBrk="0" hangingPunct="1">
              <a:lnSpc>
                <a:spcPct val="120000"/>
              </a:lnSpc>
              <a:spcBef>
                <a:spcPct val="20000"/>
              </a:spcBef>
              <a:buClr>
                <a:schemeClr val="accent2"/>
              </a:buClr>
              <a:buFont typeface="Wingdings" charset="2"/>
              <a:buNone/>
              <a:defRPr sz="900" b="0" i="0" kern="1200" baseline="0">
                <a:solidFill>
                  <a:schemeClr val="tx1"/>
                </a:solidFill>
                <a:latin typeface="Arial" charset="0"/>
                <a:ea typeface="Arial" charset="0"/>
                <a:cs typeface="Arial" charset="0"/>
              </a:defRPr>
            </a:lvl1pPr>
            <a:lvl2pPr marL="557213" indent="-214313" algn="l" defTabSz="685800" rtl="0" eaLnBrk="1" latinLnBrk="0" hangingPunct="1">
              <a:lnSpc>
                <a:spcPct val="120000"/>
              </a:lnSpc>
              <a:spcBef>
                <a:spcPct val="20000"/>
              </a:spcBef>
              <a:buClr>
                <a:schemeClr val="accent2"/>
              </a:buClr>
              <a:buFont typeface="Wingdings" charset="2"/>
              <a:buChar char="§"/>
              <a:defRPr sz="1350" b="0" i="0" kern="1200">
                <a:solidFill>
                  <a:schemeClr val="tx1">
                    <a:lumMod val="85000"/>
                    <a:lumOff val="15000"/>
                  </a:schemeClr>
                </a:solidFill>
                <a:latin typeface="Arial" charset="0"/>
                <a:ea typeface="Arial" charset="0"/>
                <a:cs typeface="Arial" charset="0"/>
              </a:defRPr>
            </a:lvl2pPr>
            <a:lvl3pPr marL="857250" indent="-171450" algn="l" defTabSz="685800" rtl="0" eaLnBrk="1" latinLnBrk="0" hangingPunct="1">
              <a:lnSpc>
                <a:spcPct val="120000"/>
              </a:lnSpc>
              <a:spcBef>
                <a:spcPct val="20000"/>
              </a:spcBef>
              <a:buClr>
                <a:schemeClr val="accent2"/>
              </a:buClr>
              <a:buFont typeface="Wingdings" charset="2"/>
              <a:buChar char="§"/>
              <a:defRPr sz="1200" b="0" i="0" kern="1200">
                <a:solidFill>
                  <a:schemeClr val="tx1">
                    <a:lumMod val="85000"/>
                    <a:lumOff val="15000"/>
                  </a:schemeClr>
                </a:solidFill>
                <a:latin typeface="Arial" charset="0"/>
                <a:ea typeface="Arial" charset="0"/>
                <a:cs typeface="Arial" charset="0"/>
              </a:defRPr>
            </a:lvl3pPr>
            <a:lvl4pPr marL="12001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4pPr>
            <a:lvl5pPr marL="1543050" indent="-171450" algn="l" defTabSz="685800" rtl="0" eaLnBrk="1" latinLnBrk="0" hangingPunct="1">
              <a:lnSpc>
                <a:spcPct val="120000"/>
              </a:lnSpc>
              <a:spcBef>
                <a:spcPct val="20000"/>
              </a:spcBef>
              <a:buClr>
                <a:schemeClr val="accent2"/>
              </a:buClr>
              <a:buFont typeface="Wingdings" charset="2"/>
              <a:buChar char="§"/>
              <a:defRPr sz="1050" b="0" i="0" kern="1200">
                <a:solidFill>
                  <a:schemeClr val="tx1">
                    <a:lumMod val="85000"/>
                    <a:lumOff val="15000"/>
                  </a:schemeClr>
                </a:solidFill>
                <a:latin typeface="Arial" charset="0"/>
                <a:ea typeface="Arial" charset="0"/>
                <a:cs typeface="Arial"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85750" indent="-285750" defTabSz="914400">
              <a:buClr>
                <a:srgbClr val="00ACD4"/>
              </a:buClr>
              <a:buFont typeface="Arial" panose="020B0604020202020204" pitchFamily="34" charset="0"/>
              <a:buChar char="•"/>
              <a:defRPr/>
            </a:pPr>
            <a:r>
              <a:rPr lang="en-GB" sz="1300" dirty="0">
                <a:solidFill>
                  <a:srgbClr val="193C6C"/>
                </a:solidFill>
                <a:latin typeface="Arial" panose="020B0604020202020204" pitchFamily="34" charset="0"/>
                <a:ea typeface="Calibri" panose="020F0502020204030204" pitchFamily="34" charset="0"/>
                <a:cs typeface="Arial" panose="020B0604020202020204" pitchFamily="34" charset="0"/>
              </a:rPr>
              <a:t>A large number of formal and informal MSMEs in Sub-Saharan Africa have already adopted mobile money for business purposes</a:t>
            </a:r>
          </a:p>
          <a:p>
            <a:pPr marL="285750" indent="-285750" defTabSz="914400">
              <a:buClr>
                <a:srgbClr val="00ACD4"/>
              </a:buClr>
              <a:buFont typeface="Arial" panose="020B0604020202020204" pitchFamily="34" charset="0"/>
              <a:buChar char="•"/>
              <a:defRPr/>
            </a:pPr>
            <a:r>
              <a:rPr lang="en-GB" sz="1300" b="1" dirty="0" smtClean="0">
                <a:solidFill>
                  <a:srgbClr val="193C6C"/>
                </a:solidFill>
                <a:latin typeface="Arial" panose="020B0604020202020204" pitchFamily="34" charset="0"/>
                <a:ea typeface="Calibri" panose="020F0502020204030204" pitchFamily="34" charset="0"/>
                <a:cs typeface="Arial" panose="020B0604020202020204" pitchFamily="34" charset="0"/>
              </a:rPr>
              <a:t>46</a:t>
            </a:r>
            <a:r>
              <a:rPr lang="en-GB" sz="1300" b="1" dirty="0">
                <a:solidFill>
                  <a:srgbClr val="193C6C"/>
                </a:solidFill>
                <a:latin typeface="Arial" panose="020B0604020202020204" pitchFamily="34" charset="0"/>
                <a:ea typeface="Calibri" panose="020F0502020204030204" pitchFamily="34" charset="0"/>
                <a:cs typeface="Arial" panose="020B0604020202020204" pitchFamily="34" charset="0"/>
              </a:rPr>
              <a:t>% </a:t>
            </a:r>
            <a:r>
              <a:rPr lang="en-GB" sz="1300" dirty="0">
                <a:solidFill>
                  <a:srgbClr val="193C6C"/>
                </a:solidFill>
                <a:latin typeface="Arial" panose="020B0604020202020204" pitchFamily="34" charset="0"/>
                <a:ea typeface="Calibri" panose="020F0502020204030204" pitchFamily="34" charset="0"/>
                <a:cs typeface="Arial" panose="020B0604020202020204" pitchFamily="34" charset="0"/>
              </a:rPr>
              <a:t>of Sub-Saharan African respondents to </a:t>
            </a:r>
            <a:r>
              <a:rPr lang="en-GB" sz="1300" dirty="0" smtClean="0">
                <a:solidFill>
                  <a:srgbClr val="193C6C"/>
                </a:solidFill>
                <a:latin typeface="Arial" panose="020B0604020202020204" pitchFamily="34" charset="0"/>
                <a:ea typeface="Calibri" panose="020F0502020204030204" pitchFamily="34" charset="0"/>
                <a:cs typeface="Arial" panose="020B0604020202020204" pitchFamily="34" charset="0"/>
              </a:rPr>
              <a:t>our 2018 Global </a:t>
            </a:r>
            <a:r>
              <a:rPr lang="en-GB" sz="1300" dirty="0">
                <a:solidFill>
                  <a:srgbClr val="193C6C"/>
                </a:solidFill>
                <a:latin typeface="Arial" panose="020B0604020202020204" pitchFamily="34" charset="0"/>
                <a:ea typeface="Calibri" panose="020F0502020204030204" pitchFamily="34" charset="0"/>
                <a:cs typeface="Arial" panose="020B0604020202020204" pitchFamily="34" charset="0"/>
              </a:rPr>
              <a:t>Adoption Survey highlighted </a:t>
            </a:r>
            <a:r>
              <a:rPr lang="en-GB" sz="1300" b="1" dirty="0">
                <a:solidFill>
                  <a:srgbClr val="193C6C"/>
                </a:solidFill>
                <a:latin typeface="Arial" panose="020B0604020202020204" pitchFamily="34" charset="0"/>
                <a:ea typeface="Calibri" panose="020F0502020204030204" pitchFamily="34" charset="0"/>
                <a:cs typeface="Arial" panose="020B0604020202020204" pitchFamily="34" charset="0"/>
              </a:rPr>
              <a:t>building enterprise solutions </a:t>
            </a:r>
            <a:r>
              <a:rPr lang="en-GB" sz="1300" dirty="0">
                <a:solidFill>
                  <a:srgbClr val="193C6C"/>
                </a:solidFill>
                <a:latin typeface="Arial" panose="020B0604020202020204" pitchFamily="34" charset="0"/>
                <a:ea typeface="Calibri" panose="020F0502020204030204" pitchFamily="34" charset="0"/>
                <a:cs typeface="Arial" panose="020B0604020202020204" pitchFamily="34" charset="0"/>
              </a:rPr>
              <a:t>as one of their </a:t>
            </a:r>
            <a:r>
              <a:rPr lang="en-GB" sz="1300" b="1" dirty="0">
                <a:solidFill>
                  <a:srgbClr val="193C6C"/>
                </a:solidFill>
                <a:latin typeface="Arial" panose="020B0604020202020204" pitchFamily="34" charset="0"/>
                <a:ea typeface="Calibri" panose="020F0502020204030204" pitchFamily="34" charset="0"/>
                <a:cs typeface="Arial" panose="020B0604020202020204" pitchFamily="34" charset="0"/>
              </a:rPr>
              <a:t>top </a:t>
            </a:r>
            <a:r>
              <a:rPr lang="en-GB" sz="1300" b="1" dirty="0" smtClean="0">
                <a:solidFill>
                  <a:srgbClr val="193C6C"/>
                </a:solidFill>
                <a:latin typeface="Arial" panose="020B0604020202020204" pitchFamily="34" charset="0"/>
                <a:ea typeface="Calibri" panose="020F0502020204030204" pitchFamily="34" charset="0"/>
                <a:cs typeface="Arial" panose="020B0604020202020204" pitchFamily="34" charset="0"/>
              </a:rPr>
              <a:t>three </a:t>
            </a:r>
            <a:r>
              <a:rPr lang="en-GB" sz="1300" b="1" dirty="0">
                <a:solidFill>
                  <a:srgbClr val="193C6C"/>
                </a:solidFill>
                <a:latin typeface="Arial" panose="020B0604020202020204" pitchFamily="34" charset="0"/>
                <a:ea typeface="Calibri" panose="020F0502020204030204" pitchFamily="34" charset="0"/>
                <a:cs typeface="Arial" panose="020B0604020202020204" pitchFamily="34" charset="0"/>
              </a:rPr>
              <a:t>strategic </a:t>
            </a:r>
            <a:r>
              <a:rPr lang="en-GB" sz="1300" b="1" dirty="0" smtClean="0">
                <a:solidFill>
                  <a:srgbClr val="193C6C"/>
                </a:solidFill>
                <a:latin typeface="Arial" panose="020B0604020202020204" pitchFamily="34" charset="0"/>
                <a:ea typeface="Calibri" panose="020F0502020204030204" pitchFamily="34" charset="0"/>
                <a:cs typeface="Arial" panose="020B0604020202020204" pitchFamily="34" charset="0"/>
              </a:rPr>
              <a:t>priorities</a:t>
            </a:r>
            <a:endParaRPr lang="en-GB" sz="1300" dirty="0">
              <a:solidFill>
                <a:srgbClr val="193C6C"/>
              </a:solidFill>
              <a:latin typeface="Arial" panose="020B0604020202020204" pitchFamily="34" charset="0"/>
              <a:ea typeface="Calibri" panose="020F0502020204030204" pitchFamily="34" charset="0"/>
              <a:cs typeface="Arial" panose="020B0604020202020204" pitchFamily="34" charset="0"/>
            </a:endParaRPr>
          </a:p>
        </p:txBody>
      </p:sp>
      <p:sp>
        <p:nvSpPr>
          <p:cNvPr id="8" name="Title 3"/>
          <p:cNvSpPr txBox="1">
            <a:spLocks/>
          </p:cNvSpPr>
          <p:nvPr/>
        </p:nvSpPr>
        <p:spPr>
          <a:xfrm>
            <a:off x="3743336" y="978637"/>
            <a:ext cx="4038600" cy="432049"/>
          </a:xfrm>
          <a:prstGeom prst="rect">
            <a:avLst/>
          </a:prstGeom>
        </p:spPr>
        <p:txBody>
          <a:bodyPr vert="horz" lIns="91440" tIns="45720" rIns="91440" bIns="45720" rtlCol="0" anchor="t" anchorCtr="0">
            <a:normAutofit/>
          </a:bodyPr>
          <a:lstStyle>
            <a:lvl1pPr algn="l" defTabSz="685800" rtl="0" eaLnBrk="1" latinLnBrk="0" hangingPunct="1">
              <a:spcBef>
                <a:spcPct val="0"/>
              </a:spcBef>
              <a:buNone/>
              <a:defRPr sz="2000" b="1" i="0" kern="1200">
                <a:solidFill>
                  <a:srgbClr val="00ACD4"/>
                </a:solidFill>
                <a:latin typeface="Arial" charset="0"/>
                <a:ea typeface="Arial" charset="0"/>
                <a:cs typeface="Arial" charset="0"/>
              </a:defRPr>
            </a:lvl1pPr>
          </a:lstStyle>
          <a:p>
            <a:r>
              <a:rPr lang="en-GB" sz="1400" dirty="0" smtClean="0"/>
              <a:t>MSMEs</a:t>
            </a:r>
            <a:endParaRPr lang="en-GB" sz="1400" dirty="0"/>
          </a:p>
        </p:txBody>
      </p:sp>
      <p:sp>
        <p:nvSpPr>
          <p:cNvPr id="9" name="Title 3"/>
          <p:cNvSpPr txBox="1">
            <a:spLocks/>
          </p:cNvSpPr>
          <p:nvPr/>
        </p:nvSpPr>
        <p:spPr>
          <a:xfrm>
            <a:off x="3709998" y="2992776"/>
            <a:ext cx="4038600" cy="432049"/>
          </a:xfrm>
          <a:prstGeom prst="rect">
            <a:avLst/>
          </a:prstGeom>
        </p:spPr>
        <p:txBody>
          <a:bodyPr vert="horz" lIns="91440" tIns="45720" rIns="91440" bIns="45720" rtlCol="0" anchor="t" anchorCtr="0">
            <a:normAutofit/>
          </a:bodyPr>
          <a:lstStyle>
            <a:lvl1pPr algn="l" defTabSz="685800" rtl="0" eaLnBrk="1" latinLnBrk="0" hangingPunct="1">
              <a:spcBef>
                <a:spcPct val="0"/>
              </a:spcBef>
              <a:buNone/>
              <a:defRPr sz="1700" b="1" i="0" kern="1200">
                <a:solidFill>
                  <a:srgbClr val="00ACD4"/>
                </a:solidFill>
                <a:latin typeface="Arial" charset="0"/>
                <a:ea typeface="Arial" charset="0"/>
                <a:cs typeface="Arial" charset="0"/>
              </a:defRPr>
            </a:lvl1pPr>
          </a:lstStyle>
          <a:p>
            <a:r>
              <a:rPr lang="en-GB" sz="1400" dirty="0" smtClean="0"/>
              <a:t>E-commerce</a:t>
            </a:r>
            <a:endParaRPr lang="en-GB" sz="1400" dirty="0"/>
          </a:p>
        </p:txBody>
      </p:sp>
      <p:pic>
        <p:nvPicPr>
          <p:cNvPr id="5" name="Picture 4"/>
          <p:cNvPicPr>
            <a:picLocks noChangeAspect="1"/>
          </p:cNvPicPr>
          <p:nvPr/>
        </p:nvPicPr>
        <p:blipFill>
          <a:blip r:embed="rId3"/>
          <a:stretch>
            <a:fillRect/>
          </a:stretch>
        </p:blipFill>
        <p:spPr>
          <a:xfrm>
            <a:off x="3371850" y="3857625"/>
            <a:ext cx="5772150" cy="1285875"/>
          </a:xfrm>
          <a:prstGeom prst="rect">
            <a:avLst/>
          </a:prstGeom>
        </p:spPr>
      </p:pic>
      <p:sp>
        <p:nvSpPr>
          <p:cNvPr id="10" name="Content Placeholder 2"/>
          <p:cNvSpPr txBox="1">
            <a:spLocks/>
          </p:cNvSpPr>
          <p:nvPr/>
        </p:nvSpPr>
        <p:spPr>
          <a:xfrm>
            <a:off x="3817397" y="3277556"/>
            <a:ext cx="5259600" cy="1663200"/>
          </a:xfrm>
          <a:prstGeom prst="rect">
            <a:avLst/>
          </a:prstGeom>
          <a:solidFill>
            <a:schemeClr val="bg1"/>
          </a:solidFill>
        </p:spPr>
        <p:txBody>
          <a:bodyPr>
            <a:normAutofit/>
          </a:bodyPr>
          <a:lstStyle>
            <a:lvl1pPr marL="257175" indent="-257175" algn="l" defTabSz="685800" rtl="0" eaLnBrk="1" latinLnBrk="0" hangingPunct="1">
              <a:lnSpc>
                <a:spcPct val="120000"/>
              </a:lnSpc>
              <a:spcBef>
                <a:spcPct val="20000"/>
              </a:spcBef>
              <a:buClr>
                <a:srgbClr val="00ACD4"/>
              </a:buClr>
              <a:buFont typeface="Arial" charset="0"/>
              <a:buChar char="•"/>
              <a:defRPr sz="1300" b="0" i="0" kern="1200">
                <a:solidFill>
                  <a:schemeClr val="tx1"/>
                </a:solidFill>
                <a:latin typeface="Arial" charset="0"/>
                <a:ea typeface="Arial" charset="0"/>
                <a:cs typeface="Arial" charset="0"/>
              </a:defRPr>
            </a:lvl1pPr>
            <a:lvl2pPr marL="557213" indent="-214313" algn="l" defTabSz="685800" rtl="0" eaLnBrk="1" latinLnBrk="0" hangingPunct="1">
              <a:lnSpc>
                <a:spcPct val="120000"/>
              </a:lnSpc>
              <a:spcBef>
                <a:spcPct val="20000"/>
              </a:spcBef>
              <a:buClr>
                <a:srgbClr val="00ACD4"/>
              </a:buClr>
              <a:buFont typeface="Arial" charset="0"/>
              <a:buChar char="•"/>
              <a:defRPr sz="1200" b="0" i="0" kern="1200">
                <a:solidFill>
                  <a:schemeClr val="tx1"/>
                </a:solidFill>
                <a:latin typeface="Arial" charset="0"/>
                <a:ea typeface="Arial" charset="0"/>
                <a:cs typeface="Arial" charset="0"/>
              </a:defRPr>
            </a:lvl2pPr>
            <a:lvl3pPr marL="857250" indent="-171450" algn="l" defTabSz="685800" rtl="0" eaLnBrk="1" latinLnBrk="0" hangingPunct="1">
              <a:lnSpc>
                <a:spcPct val="120000"/>
              </a:lnSpc>
              <a:spcBef>
                <a:spcPct val="20000"/>
              </a:spcBef>
              <a:buClr>
                <a:srgbClr val="00ACD4"/>
              </a:buClr>
              <a:buFont typeface="Arial" charset="0"/>
              <a:buChar char="•"/>
              <a:defRPr sz="1100" b="0" i="0" kern="1200">
                <a:solidFill>
                  <a:schemeClr val="tx1"/>
                </a:solidFill>
                <a:latin typeface="Arial" charset="0"/>
                <a:ea typeface="Arial" charset="0"/>
                <a:cs typeface="Arial" charset="0"/>
              </a:defRPr>
            </a:lvl3pPr>
            <a:lvl4pPr marL="1200150" indent="-171450" algn="l" defTabSz="685800" rtl="0" eaLnBrk="1" latinLnBrk="0" hangingPunct="1">
              <a:lnSpc>
                <a:spcPct val="120000"/>
              </a:lnSpc>
              <a:spcBef>
                <a:spcPct val="20000"/>
              </a:spcBef>
              <a:buClr>
                <a:schemeClr val="bg1"/>
              </a:buClr>
              <a:buFont typeface="Wingdings" charset="2"/>
              <a:buChar char="§"/>
              <a:defRPr sz="1050" b="0" i="0" kern="1200">
                <a:solidFill>
                  <a:schemeClr val="tx1"/>
                </a:solidFill>
                <a:latin typeface="Arial" charset="0"/>
                <a:ea typeface="Arial" charset="0"/>
                <a:cs typeface="Arial" charset="0"/>
              </a:defRPr>
            </a:lvl4pPr>
            <a:lvl5pPr marL="1543050" indent="-171450" algn="l" defTabSz="685800" rtl="0" eaLnBrk="1" latinLnBrk="0" hangingPunct="1">
              <a:lnSpc>
                <a:spcPct val="120000"/>
              </a:lnSpc>
              <a:spcBef>
                <a:spcPct val="20000"/>
              </a:spcBef>
              <a:buClr>
                <a:schemeClr val="bg1"/>
              </a:buClr>
              <a:buFont typeface="Wingdings" charset="2"/>
              <a:buChar char="§"/>
              <a:defRPr sz="1050" b="0" i="0" kern="1200">
                <a:solidFill>
                  <a:schemeClr val="tx1"/>
                </a:solidFill>
                <a:latin typeface="Arial" charset="0"/>
                <a:ea typeface="Arial" charset="0"/>
                <a:cs typeface="Arial" charset="0"/>
              </a:defRPr>
            </a:lvl5pPr>
            <a:lvl6pPr marL="18859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350" kern="1200">
                <a:solidFill>
                  <a:schemeClr val="tx1"/>
                </a:solidFill>
                <a:latin typeface="+mn-lt"/>
                <a:ea typeface="+mn-ea"/>
                <a:cs typeface="+mn-cs"/>
              </a:defRPr>
            </a:lvl9pPr>
          </a:lstStyle>
          <a:p>
            <a:pPr marL="285750" indent="-285750" defTabSz="914400">
              <a:lnSpc>
                <a:spcPct val="130000"/>
              </a:lnSpc>
              <a:buFont typeface="Arial" panose="020B0604020202020204" pitchFamily="34" charset="0"/>
              <a:buChar char="•"/>
              <a:defRPr/>
            </a:pPr>
            <a:r>
              <a:rPr lang="en-GB" sz="1400" dirty="0" smtClean="0">
                <a:solidFill>
                  <a:srgbClr val="193C6C"/>
                </a:solidFill>
                <a:latin typeface="Arial" panose="020B0604020202020204" pitchFamily="34" charset="0"/>
                <a:ea typeface="Calibri" panose="020F0502020204030204" pitchFamily="34" charset="0"/>
                <a:cs typeface="Arial" panose="020B0604020202020204" pitchFamily="34" charset="0"/>
              </a:rPr>
              <a:t>More </a:t>
            </a:r>
            <a:r>
              <a:rPr lang="en-GB" sz="1400" dirty="0">
                <a:solidFill>
                  <a:srgbClr val="193C6C"/>
                </a:solidFill>
                <a:latin typeface="Arial" panose="020B0604020202020204" pitchFamily="34" charset="0"/>
                <a:ea typeface="Calibri" panose="020F0502020204030204" pitchFamily="34" charset="0"/>
                <a:cs typeface="Arial" panose="020B0604020202020204" pitchFamily="34" charset="0"/>
              </a:rPr>
              <a:t>MSMEs across the region are moving towards marketing and selling their products across digital </a:t>
            </a:r>
            <a:r>
              <a:rPr lang="en-GB" sz="1400" dirty="0" smtClean="0">
                <a:solidFill>
                  <a:srgbClr val="193C6C"/>
                </a:solidFill>
                <a:latin typeface="Arial" panose="020B0604020202020204" pitchFamily="34" charset="0"/>
                <a:ea typeface="Calibri" panose="020F0502020204030204" pitchFamily="34" charset="0"/>
                <a:cs typeface="Arial" panose="020B0604020202020204" pitchFamily="34" charset="0"/>
              </a:rPr>
              <a:t>channels</a:t>
            </a:r>
          </a:p>
          <a:p>
            <a:pPr marL="285750" indent="-285750" defTabSz="914400">
              <a:lnSpc>
                <a:spcPct val="130000"/>
              </a:lnSpc>
              <a:buFont typeface="Arial" panose="020B0604020202020204" pitchFamily="34" charset="0"/>
              <a:buChar char="•"/>
              <a:defRPr/>
            </a:pPr>
            <a:r>
              <a:rPr lang="en-GB" sz="1400" dirty="0">
                <a:solidFill>
                  <a:srgbClr val="193C6C"/>
                </a:solidFill>
                <a:latin typeface="Arial" panose="020B0604020202020204" pitchFamily="34" charset="0"/>
                <a:ea typeface="Calibri" panose="020F0502020204030204" pitchFamily="34" charset="0"/>
                <a:cs typeface="Arial" panose="020B0604020202020204" pitchFamily="34" charset="0"/>
              </a:rPr>
              <a:t>In 2018, </a:t>
            </a:r>
            <a:r>
              <a:rPr lang="en-GB" sz="1400" b="1" dirty="0">
                <a:solidFill>
                  <a:srgbClr val="193C6C"/>
                </a:solidFill>
                <a:latin typeface="Arial" panose="020B0604020202020204" pitchFamily="34" charset="0"/>
                <a:ea typeface="Calibri" panose="020F0502020204030204" pitchFamily="34" charset="0"/>
                <a:cs typeface="Arial" panose="020B0604020202020204" pitchFamily="34" charset="0"/>
              </a:rPr>
              <a:t>value of e-commerce </a:t>
            </a:r>
            <a:r>
              <a:rPr lang="en-GB" sz="1400" dirty="0">
                <a:solidFill>
                  <a:srgbClr val="193C6C"/>
                </a:solidFill>
                <a:latin typeface="Arial" panose="020B0604020202020204" pitchFamily="34" charset="0"/>
                <a:ea typeface="Calibri" panose="020F0502020204030204" pitchFamily="34" charset="0"/>
                <a:cs typeface="Arial" panose="020B0604020202020204" pitchFamily="34" charset="0"/>
              </a:rPr>
              <a:t>transactions facilitated by mobile money </a:t>
            </a:r>
            <a:r>
              <a:rPr lang="en-GB" sz="1400" b="1" dirty="0">
                <a:solidFill>
                  <a:srgbClr val="193C6C"/>
                </a:solidFill>
                <a:latin typeface="Arial" panose="020B0604020202020204" pitchFamily="34" charset="0"/>
                <a:ea typeface="Calibri" panose="020F0502020204030204" pitchFamily="34" charset="0"/>
                <a:cs typeface="Arial" panose="020B0604020202020204" pitchFamily="34" charset="0"/>
              </a:rPr>
              <a:t>more than doubled </a:t>
            </a:r>
            <a:r>
              <a:rPr lang="en-GB" sz="1400" dirty="0">
                <a:solidFill>
                  <a:srgbClr val="193C6C"/>
                </a:solidFill>
                <a:latin typeface="Arial" panose="020B0604020202020204" pitchFamily="34" charset="0"/>
                <a:ea typeface="Calibri" panose="020F0502020204030204" pitchFamily="34" charset="0"/>
                <a:cs typeface="Arial" panose="020B0604020202020204" pitchFamily="34" charset="0"/>
              </a:rPr>
              <a:t>across the region. </a:t>
            </a:r>
            <a:endParaRPr lang="en-GB" sz="1400" dirty="0" smtClean="0">
              <a:solidFill>
                <a:srgbClr val="193C6C"/>
              </a:solidFill>
              <a:latin typeface="Arial" panose="020B0604020202020204" pitchFamily="34" charset="0"/>
              <a:ea typeface="Calibri" panose="020F0502020204030204" pitchFamily="34" charset="0"/>
              <a:cs typeface="Arial" panose="020B0604020202020204" pitchFamily="34" charset="0"/>
            </a:endParaRPr>
          </a:p>
          <a:p>
            <a:pPr marL="285750" indent="-285750" defTabSz="914400">
              <a:lnSpc>
                <a:spcPct val="130000"/>
              </a:lnSpc>
              <a:buFont typeface="Arial" panose="020B0604020202020204" pitchFamily="34" charset="0"/>
              <a:buChar char="•"/>
              <a:defRPr/>
            </a:pPr>
            <a:endParaRPr lang="en-GB" sz="1400" dirty="0">
              <a:solidFill>
                <a:srgbClr val="193C6C"/>
              </a:solidFill>
              <a:latin typeface="Arial" panose="020B0604020202020204" pitchFamily="34" charset="0"/>
              <a:ea typeface="Calibri" panose="020F0502020204030204" pitchFamily="34" charset="0"/>
              <a:cs typeface="Arial" panose="020B0604020202020204" pitchFamily="34" charset="0"/>
            </a:endParaRPr>
          </a:p>
        </p:txBody>
      </p:sp>
      <p:pic>
        <p:nvPicPr>
          <p:cNvPr id="11" name="Picture Placeholder 14"/>
          <p:cNvPicPr>
            <a:picLocks noChangeAspect="1"/>
          </p:cNvPicPr>
          <p:nvPr/>
        </p:nvPicPr>
        <p:blipFill>
          <a:blip r:embed="rId4" cstate="hqprint">
            <a:extLst>
              <a:ext uri="{28A0092B-C50C-407E-A947-70E740481C1C}">
                <a14:useLocalDpi xmlns:a14="http://schemas.microsoft.com/office/drawing/2010/main" val="0"/>
              </a:ext>
            </a:extLst>
          </a:blip>
          <a:srcRect l="28237" r="28237"/>
          <a:stretch>
            <a:fillRect/>
          </a:stretch>
        </p:blipFill>
        <p:spPr>
          <a:xfrm>
            <a:off x="0" y="-3175"/>
            <a:ext cx="3362325" cy="5149850"/>
          </a:xfrm>
          <a:custGeom>
            <a:avLst/>
            <a:gdLst>
              <a:gd name="connsiteX0" fmla="*/ 0 w 3359150"/>
              <a:gd name="connsiteY0" fmla="*/ 425100 h 5143500"/>
              <a:gd name="connsiteX1" fmla="*/ 425100 w 3359150"/>
              <a:gd name="connsiteY1" fmla="*/ 0 h 5143500"/>
              <a:gd name="connsiteX2" fmla="*/ 2934050 w 3359150"/>
              <a:gd name="connsiteY2" fmla="*/ 0 h 5143500"/>
              <a:gd name="connsiteX3" fmla="*/ 3359150 w 3359150"/>
              <a:gd name="connsiteY3" fmla="*/ 42510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2934050 w 3359150"/>
              <a:gd name="connsiteY2" fmla="*/ 0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425100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0 w 3359150"/>
              <a:gd name="connsiteY0" fmla="*/ 425100 h 5143500"/>
              <a:gd name="connsiteX1" fmla="*/ 1917015 w 3359150"/>
              <a:gd name="connsiteY1" fmla="*/ 0 h 5143500"/>
              <a:gd name="connsiteX2" fmla="*/ 3126555 w 3359150"/>
              <a:gd name="connsiteY2" fmla="*/ 1347537 h 5143500"/>
              <a:gd name="connsiteX3" fmla="*/ 3320649 w 3359150"/>
              <a:gd name="connsiteY3" fmla="*/ 2071020 h 5143500"/>
              <a:gd name="connsiteX4" fmla="*/ 3359150 w 3359150"/>
              <a:gd name="connsiteY4" fmla="*/ 4718400 h 5143500"/>
              <a:gd name="connsiteX5" fmla="*/ 2934050 w 3359150"/>
              <a:gd name="connsiteY5" fmla="*/ 5143500 h 5143500"/>
              <a:gd name="connsiteX6" fmla="*/ 425100 w 3359150"/>
              <a:gd name="connsiteY6" fmla="*/ 5143500 h 5143500"/>
              <a:gd name="connsiteX7" fmla="*/ 0 w 3359150"/>
              <a:gd name="connsiteY7" fmla="*/ 4718400 h 5143500"/>
              <a:gd name="connsiteX8" fmla="*/ 0 w 3359150"/>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3261309 w 3686409"/>
              <a:gd name="connsiteY5" fmla="*/ 5143500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86409"/>
              <a:gd name="connsiteY0" fmla="*/ 425100 h 5143500"/>
              <a:gd name="connsiteX1" fmla="*/ 2244274 w 3686409"/>
              <a:gd name="connsiteY1" fmla="*/ 0 h 5143500"/>
              <a:gd name="connsiteX2" fmla="*/ 3453814 w 3686409"/>
              <a:gd name="connsiteY2" fmla="*/ 1347537 h 5143500"/>
              <a:gd name="connsiteX3" fmla="*/ 3647908 w 3686409"/>
              <a:gd name="connsiteY3" fmla="*/ 2071020 h 5143500"/>
              <a:gd name="connsiteX4" fmla="*/ 3686409 w 3686409"/>
              <a:gd name="connsiteY4" fmla="*/ 4718400 h 5143500"/>
              <a:gd name="connsiteX5" fmla="*/ 2462412 w 3686409"/>
              <a:gd name="connsiteY5" fmla="*/ 4719988 h 5143500"/>
              <a:gd name="connsiteX6" fmla="*/ 752359 w 3686409"/>
              <a:gd name="connsiteY6" fmla="*/ 5143500 h 5143500"/>
              <a:gd name="connsiteX7" fmla="*/ 0 w 3686409"/>
              <a:gd name="connsiteY7" fmla="*/ 3447865 h 5143500"/>
              <a:gd name="connsiteX8" fmla="*/ 327259 w 3686409"/>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50602"/>
              <a:gd name="connsiteY0" fmla="*/ 425100 h 5143500"/>
              <a:gd name="connsiteX1" fmla="*/ 2244274 w 3650602"/>
              <a:gd name="connsiteY1" fmla="*/ 0 h 5143500"/>
              <a:gd name="connsiteX2" fmla="*/ 3453814 w 3650602"/>
              <a:gd name="connsiteY2" fmla="*/ 1347537 h 5143500"/>
              <a:gd name="connsiteX3" fmla="*/ 3647908 w 3650602"/>
              <a:gd name="connsiteY3" fmla="*/ 2071020 h 5143500"/>
              <a:gd name="connsiteX4" fmla="*/ 3031891 w 3650602"/>
              <a:gd name="connsiteY4" fmla="*/ 4217886 h 5143500"/>
              <a:gd name="connsiteX5" fmla="*/ 2462412 w 3650602"/>
              <a:gd name="connsiteY5" fmla="*/ 4719988 h 5143500"/>
              <a:gd name="connsiteX6" fmla="*/ 752359 w 3650602"/>
              <a:gd name="connsiteY6" fmla="*/ 5143500 h 5143500"/>
              <a:gd name="connsiteX7" fmla="*/ 0 w 3650602"/>
              <a:gd name="connsiteY7" fmla="*/ 3447865 h 5143500"/>
              <a:gd name="connsiteX8" fmla="*/ 327259 w 3650602"/>
              <a:gd name="connsiteY8" fmla="*/ 425100 h 5143500"/>
              <a:gd name="connsiteX0" fmla="*/ 327259 w 3667333"/>
              <a:gd name="connsiteY0" fmla="*/ 425100 h 5143500"/>
              <a:gd name="connsiteX1" fmla="*/ 2244274 w 3667333"/>
              <a:gd name="connsiteY1" fmla="*/ 0 h 5143500"/>
              <a:gd name="connsiteX2" fmla="*/ 3509121 w 3667333"/>
              <a:gd name="connsiteY2" fmla="*/ 1358598 h 5143500"/>
              <a:gd name="connsiteX3" fmla="*/ 3647908 w 3667333"/>
              <a:gd name="connsiteY3" fmla="*/ 2071020 h 5143500"/>
              <a:gd name="connsiteX4" fmla="*/ 3031891 w 3667333"/>
              <a:gd name="connsiteY4" fmla="*/ 4217886 h 5143500"/>
              <a:gd name="connsiteX5" fmla="*/ 2462412 w 3667333"/>
              <a:gd name="connsiteY5" fmla="*/ 4719988 h 5143500"/>
              <a:gd name="connsiteX6" fmla="*/ 752359 w 3667333"/>
              <a:gd name="connsiteY6" fmla="*/ 5143500 h 5143500"/>
              <a:gd name="connsiteX7" fmla="*/ 0 w 3667333"/>
              <a:gd name="connsiteY7" fmla="*/ 3447865 h 5143500"/>
              <a:gd name="connsiteX8" fmla="*/ 327259 w 3667333"/>
              <a:gd name="connsiteY8" fmla="*/ 425100 h 5143500"/>
              <a:gd name="connsiteX0" fmla="*/ 327259 w 3691611"/>
              <a:gd name="connsiteY0" fmla="*/ 425100 h 5143500"/>
              <a:gd name="connsiteX1" fmla="*/ 2244274 w 3691611"/>
              <a:gd name="connsiteY1" fmla="*/ 0 h 5143500"/>
              <a:gd name="connsiteX2" fmla="*/ 3509121 w 3691611"/>
              <a:gd name="connsiteY2" fmla="*/ 1358598 h 5143500"/>
              <a:gd name="connsiteX3" fmla="*/ 3647908 w 3691611"/>
              <a:gd name="connsiteY3" fmla="*/ 2071020 h 5143500"/>
              <a:gd name="connsiteX4" fmla="*/ 3031891 w 3691611"/>
              <a:gd name="connsiteY4" fmla="*/ 4217886 h 5143500"/>
              <a:gd name="connsiteX5" fmla="*/ 2462412 w 3691611"/>
              <a:gd name="connsiteY5" fmla="*/ 4719988 h 5143500"/>
              <a:gd name="connsiteX6" fmla="*/ 752359 w 3691611"/>
              <a:gd name="connsiteY6" fmla="*/ 5143500 h 5143500"/>
              <a:gd name="connsiteX7" fmla="*/ 0 w 3691611"/>
              <a:gd name="connsiteY7" fmla="*/ 3447865 h 5143500"/>
              <a:gd name="connsiteX8" fmla="*/ 327259 w 3691611"/>
              <a:gd name="connsiteY8" fmla="*/ 425100 h 5143500"/>
              <a:gd name="connsiteX0" fmla="*/ 327259 w 3686530"/>
              <a:gd name="connsiteY0" fmla="*/ 425100 h 5143500"/>
              <a:gd name="connsiteX1" fmla="*/ 2244274 w 3686530"/>
              <a:gd name="connsiteY1" fmla="*/ 0 h 5143500"/>
              <a:gd name="connsiteX2" fmla="*/ 3509121 w 3686530"/>
              <a:gd name="connsiteY2" fmla="*/ 1358598 h 5143500"/>
              <a:gd name="connsiteX3" fmla="*/ 3636847 w 3686530"/>
              <a:gd name="connsiteY3" fmla="*/ 2096830 h 5143500"/>
              <a:gd name="connsiteX4" fmla="*/ 3031891 w 3686530"/>
              <a:gd name="connsiteY4" fmla="*/ 4217886 h 5143500"/>
              <a:gd name="connsiteX5" fmla="*/ 2462412 w 3686530"/>
              <a:gd name="connsiteY5" fmla="*/ 4719988 h 5143500"/>
              <a:gd name="connsiteX6" fmla="*/ 752359 w 3686530"/>
              <a:gd name="connsiteY6" fmla="*/ 5143500 h 5143500"/>
              <a:gd name="connsiteX7" fmla="*/ 0 w 3686530"/>
              <a:gd name="connsiteY7" fmla="*/ 3447865 h 5143500"/>
              <a:gd name="connsiteX8" fmla="*/ 327259 w 3686530"/>
              <a:gd name="connsiteY8" fmla="*/ 425100 h 5143500"/>
              <a:gd name="connsiteX0" fmla="*/ 327259 w 3703888"/>
              <a:gd name="connsiteY0" fmla="*/ 425100 h 5143500"/>
              <a:gd name="connsiteX1" fmla="*/ 2244274 w 3703888"/>
              <a:gd name="connsiteY1" fmla="*/ 0 h 5143500"/>
              <a:gd name="connsiteX2" fmla="*/ 3509121 w 3703888"/>
              <a:gd name="connsiteY2" fmla="*/ 1358598 h 5143500"/>
              <a:gd name="connsiteX3" fmla="*/ 3636847 w 3703888"/>
              <a:gd name="connsiteY3" fmla="*/ 2096830 h 5143500"/>
              <a:gd name="connsiteX4" fmla="*/ 3031891 w 3703888"/>
              <a:gd name="connsiteY4" fmla="*/ 4217886 h 5143500"/>
              <a:gd name="connsiteX5" fmla="*/ 2462412 w 3703888"/>
              <a:gd name="connsiteY5" fmla="*/ 4719988 h 5143500"/>
              <a:gd name="connsiteX6" fmla="*/ 752359 w 3703888"/>
              <a:gd name="connsiteY6" fmla="*/ 5143500 h 5143500"/>
              <a:gd name="connsiteX7" fmla="*/ 0 w 3703888"/>
              <a:gd name="connsiteY7" fmla="*/ 3447865 h 5143500"/>
              <a:gd name="connsiteX8" fmla="*/ 327259 w 3703888"/>
              <a:gd name="connsiteY8" fmla="*/ 425100 h 5143500"/>
              <a:gd name="connsiteX0" fmla="*/ 327259 w 3682668"/>
              <a:gd name="connsiteY0" fmla="*/ 425100 h 5143500"/>
              <a:gd name="connsiteX1" fmla="*/ 2244274 w 3682668"/>
              <a:gd name="connsiteY1" fmla="*/ 0 h 5143500"/>
              <a:gd name="connsiteX2" fmla="*/ 3461189 w 3682668"/>
              <a:gd name="connsiteY2" fmla="*/ 1310666 h 5143500"/>
              <a:gd name="connsiteX3" fmla="*/ 3636847 w 3682668"/>
              <a:gd name="connsiteY3" fmla="*/ 2096830 h 5143500"/>
              <a:gd name="connsiteX4" fmla="*/ 3031891 w 3682668"/>
              <a:gd name="connsiteY4" fmla="*/ 4217886 h 5143500"/>
              <a:gd name="connsiteX5" fmla="*/ 2462412 w 3682668"/>
              <a:gd name="connsiteY5" fmla="*/ 4719988 h 5143500"/>
              <a:gd name="connsiteX6" fmla="*/ 752359 w 3682668"/>
              <a:gd name="connsiteY6" fmla="*/ 5143500 h 5143500"/>
              <a:gd name="connsiteX7" fmla="*/ 0 w 3682668"/>
              <a:gd name="connsiteY7" fmla="*/ 3447865 h 5143500"/>
              <a:gd name="connsiteX8" fmla="*/ 327259 w 3682668"/>
              <a:gd name="connsiteY8" fmla="*/ 425100 h 5143500"/>
              <a:gd name="connsiteX0" fmla="*/ 327259 w 3693650"/>
              <a:gd name="connsiteY0" fmla="*/ 425100 h 5143500"/>
              <a:gd name="connsiteX1" fmla="*/ 2244274 w 3693650"/>
              <a:gd name="connsiteY1" fmla="*/ 0 h 5143500"/>
              <a:gd name="connsiteX2" fmla="*/ 3461189 w 3693650"/>
              <a:gd name="connsiteY2" fmla="*/ 1310666 h 5143500"/>
              <a:gd name="connsiteX3" fmla="*/ 3636847 w 3693650"/>
              <a:gd name="connsiteY3" fmla="*/ 2096830 h 5143500"/>
              <a:gd name="connsiteX4" fmla="*/ 3031891 w 3693650"/>
              <a:gd name="connsiteY4" fmla="*/ 4217886 h 5143500"/>
              <a:gd name="connsiteX5" fmla="*/ 2462412 w 3693650"/>
              <a:gd name="connsiteY5" fmla="*/ 4719988 h 5143500"/>
              <a:gd name="connsiteX6" fmla="*/ 752359 w 3693650"/>
              <a:gd name="connsiteY6" fmla="*/ 5143500 h 5143500"/>
              <a:gd name="connsiteX7" fmla="*/ 0 w 3693650"/>
              <a:gd name="connsiteY7" fmla="*/ 3447865 h 5143500"/>
              <a:gd name="connsiteX8" fmla="*/ 327259 w 3693650"/>
              <a:gd name="connsiteY8" fmla="*/ 425100 h 5143500"/>
              <a:gd name="connsiteX0" fmla="*/ 327259 w 3688927"/>
              <a:gd name="connsiteY0" fmla="*/ 425100 h 5143500"/>
              <a:gd name="connsiteX1" fmla="*/ 2244274 w 3688927"/>
              <a:gd name="connsiteY1" fmla="*/ 0 h 5143500"/>
              <a:gd name="connsiteX2" fmla="*/ 3461189 w 3688927"/>
              <a:gd name="connsiteY2" fmla="*/ 1310666 h 5143500"/>
              <a:gd name="connsiteX3" fmla="*/ 3636847 w 3688927"/>
              <a:gd name="connsiteY3" fmla="*/ 2096830 h 5143500"/>
              <a:gd name="connsiteX4" fmla="*/ 3031891 w 3688927"/>
              <a:gd name="connsiteY4" fmla="*/ 4217886 h 5143500"/>
              <a:gd name="connsiteX5" fmla="*/ 2462412 w 3688927"/>
              <a:gd name="connsiteY5" fmla="*/ 4719988 h 5143500"/>
              <a:gd name="connsiteX6" fmla="*/ 752359 w 3688927"/>
              <a:gd name="connsiteY6" fmla="*/ 5143500 h 5143500"/>
              <a:gd name="connsiteX7" fmla="*/ 0 w 3688927"/>
              <a:gd name="connsiteY7" fmla="*/ 3447865 h 5143500"/>
              <a:gd name="connsiteX8" fmla="*/ 327259 w 3688927"/>
              <a:gd name="connsiteY8" fmla="*/ 425100 h 5143500"/>
              <a:gd name="connsiteX0" fmla="*/ 327259 w 3693208"/>
              <a:gd name="connsiteY0" fmla="*/ 425100 h 5143500"/>
              <a:gd name="connsiteX1" fmla="*/ 2244274 w 3693208"/>
              <a:gd name="connsiteY1" fmla="*/ 0 h 5143500"/>
              <a:gd name="connsiteX2" fmla="*/ 3472251 w 3693208"/>
              <a:gd name="connsiteY2" fmla="*/ 1318040 h 5143500"/>
              <a:gd name="connsiteX3" fmla="*/ 3636847 w 3693208"/>
              <a:gd name="connsiteY3" fmla="*/ 2096830 h 5143500"/>
              <a:gd name="connsiteX4" fmla="*/ 3031891 w 3693208"/>
              <a:gd name="connsiteY4" fmla="*/ 4217886 h 5143500"/>
              <a:gd name="connsiteX5" fmla="*/ 2462412 w 3693208"/>
              <a:gd name="connsiteY5" fmla="*/ 4719988 h 5143500"/>
              <a:gd name="connsiteX6" fmla="*/ 752359 w 3693208"/>
              <a:gd name="connsiteY6" fmla="*/ 5143500 h 5143500"/>
              <a:gd name="connsiteX7" fmla="*/ 0 w 3693208"/>
              <a:gd name="connsiteY7" fmla="*/ 3447865 h 5143500"/>
              <a:gd name="connsiteX8" fmla="*/ 327259 w 3693208"/>
              <a:gd name="connsiteY8" fmla="*/ 425100 h 5143500"/>
              <a:gd name="connsiteX0" fmla="*/ 327259 w 3689737"/>
              <a:gd name="connsiteY0" fmla="*/ 425100 h 5143500"/>
              <a:gd name="connsiteX1" fmla="*/ 2244274 w 3689737"/>
              <a:gd name="connsiteY1" fmla="*/ 0 h 5143500"/>
              <a:gd name="connsiteX2" fmla="*/ 3472251 w 3689737"/>
              <a:gd name="connsiteY2" fmla="*/ 1318040 h 5143500"/>
              <a:gd name="connsiteX3" fmla="*/ 3636847 w 3689737"/>
              <a:gd name="connsiteY3" fmla="*/ 2096830 h 5143500"/>
              <a:gd name="connsiteX4" fmla="*/ 3031891 w 3689737"/>
              <a:gd name="connsiteY4" fmla="*/ 4217886 h 5143500"/>
              <a:gd name="connsiteX5" fmla="*/ 2462412 w 3689737"/>
              <a:gd name="connsiteY5" fmla="*/ 4719988 h 5143500"/>
              <a:gd name="connsiteX6" fmla="*/ 752359 w 3689737"/>
              <a:gd name="connsiteY6" fmla="*/ 5143500 h 5143500"/>
              <a:gd name="connsiteX7" fmla="*/ 0 w 3689737"/>
              <a:gd name="connsiteY7" fmla="*/ 3447865 h 5143500"/>
              <a:gd name="connsiteX8" fmla="*/ 327259 w 3689737"/>
              <a:gd name="connsiteY8" fmla="*/ 425100 h 5143500"/>
              <a:gd name="connsiteX0" fmla="*/ 327259 w 3692863"/>
              <a:gd name="connsiteY0" fmla="*/ 425100 h 5143500"/>
              <a:gd name="connsiteX1" fmla="*/ 2244274 w 3692863"/>
              <a:gd name="connsiteY1" fmla="*/ 0 h 5143500"/>
              <a:gd name="connsiteX2" fmla="*/ 3472251 w 3692863"/>
              <a:gd name="connsiteY2" fmla="*/ 1318040 h 5143500"/>
              <a:gd name="connsiteX3" fmla="*/ 3636847 w 3692863"/>
              <a:gd name="connsiteY3" fmla="*/ 2096830 h 5143500"/>
              <a:gd name="connsiteX4" fmla="*/ 3031891 w 3692863"/>
              <a:gd name="connsiteY4" fmla="*/ 4217886 h 5143500"/>
              <a:gd name="connsiteX5" fmla="*/ 2462412 w 3692863"/>
              <a:gd name="connsiteY5" fmla="*/ 4719988 h 5143500"/>
              <a:gd name="connsiteX6" fmla="*/ 752359 w 3692863"/>
              <a:gd name="connsiteY6" fmla="*/ 5143500 h 5143500"/>
              <a:gd name="connsiteX7" fmla="*/ 0 w 3692863"/>
              <a:gd name="connsiteY7" fmla="*/ 3447865 h 5143500"/>
              <a:gd name="connsiteX8" fmla="*/ 327259 w 3692863"/>
              <a:gd name="connsiteY8" fmla="*/ 425100 h 5143500"/>
              <a:gd name="connsiteX0" fmla="*/ 327259 w 3697188"/>
              <a:gd name="connsiteY0" fmla="*/ 425100 h 5143500"/>
              <a:gd name="connsiteX1" fmla="*/ 2244274 w 3697188"/>
              <a:gd name="connsiteY1" fmla="*/ 0 h 5143500"/>
              <a:gd name="connsiteX2" fmla="*/ 3483312 w 3697188"/>
              <a:gd name="connsiteY2" fmla="*/ 1325414 h 5143500"/>
              <a:gd name="connsiteX3" fmla="*/ 3636847 w 3697188"/>
              <a:gd name="connsiteY3" fmla="*/ 2096830 h 5143500"/>
              <a:gd name="connsiteX4" fmla="*/ 3031891 w 3697188"/>
              <a:gd name="connsiteY4" fmla="*/ 4217886 h 5143500"/>
              <a:gd name="connsiteX5" fmla="*/ 2462412 w 3697188"/>
              <a:gd name="connsiteY5" fmla="*/ 4719988 h 5143500"/>
              <a:gd name="connsiteX6" fmla="*/ 752359 w 3697188"/>
              <a:gd name="connsiteY6" fmla="*/ 5143500 h 5143500"/>
              <a:gd name="connsiteX7" fmla="*/ 0 w 3697188"/>
              <a:gd name="connsiteY7" fmla="*/ 3447865 h 5143500"/>
              <a:gd name="connsiteX8" fmla="*/ 327259 w 3697188"/>
              <a:gd name="connsiteY8" fmla="*/ 425100 h 5143500"/>
              <a:gd name="connsiteX0" fmla="*/ 327259 w 3687052"/>
              <a:gd name="connsiteY0" fmla="*/ 425100 h 5143500"/>
              <a:gd name="connsiteX1" fmla="*/ 2244274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31891 w 3687052"/>
              <a:gd name="connsiteY4" fmla="*/ 4217886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43500"/>
              <a:gd name="connsiteX1" fmla="*/ 2211090 w 3687052"/>
              <a:gd name="connsiteY1" fmla="*/ 0 h 5143500"/>
              <a:gd name="connsiteX2" fmla="*/ 3483312 w 3687052"/>
              <a:gd name="connsiteY2" fmla="*/ 1325414 h 5143500"/>
              <a:gd name="connsiteX3" fmla="*/ 3636847 w 3687052"/>
              <a:gd name="connsiteY3" fmla="*/ 2096830 h 5143500"/>
              <a:gd name="connsiteX4" fmla="*/ 3013456 w 3687052"/>
              <a:gd name="connsiteY4" fmla="*/ 4225261 h 5143500"/>
              <a:gd name="connsiteX5" fmla="*/ 2462412 w 3687052"/>
              <a:gd name="connsiteY5" fmla="*/ 4719988 h 5143500"/>
              <a:gd name="connsiteX6" fmla="*/ 752359 w 3687052"/>
              <a:gd name="connsiteY6" fmla="*/ 5143500 h 5143500"/>
              <a:gd name="connsiteX7" fmla="*/ 0 w 3687052"/>
              <a:gd name="connsiteY7" fmla="*/ 3447865 h 5143500"/>
              <a:gd name="connsiteX8" fmla="*/ 327259 w 3687052"/>
              <a:gd name="connsiteY8" fmla="*/ 425100 h 5143500"/>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327259 w 3687052"/>
              <a:gd name="connsiteY0" fmla="*/ 425100 h 5150874"/>
              <a:gd name="connsiteX1" fmla="*/ 2211090 w 3687052"/>
              <a:gd name="connsiteY1" fmla="*/ 0 h 5150874"/>
              <a:gd name="connsiteX2" fmla="*/ 3483312 w 3687052"/>
              <a:gd name="connsiteY2" fmla="*/ 1325414 h 5150874"/>
              <a:gd name="connsiteX3" fmla="*/ 3636847 w 3687052"/>
              <a:gd name="connsiteY3" fmla="*/ 2096830 h 5150874"/>
              <a:gd name="connsiteX4" fmla="*/ 3013456 w 3687052"/>
              <a:gd name="connsiteY4" fmla="*/ 4225261 h 5150874"/>
              <a:gd name="connsiteX5" fmla="*/ 2462412 w 3687052"/>
              <a:gd name="connsiteY5" fmla="*/ 4719988 h 5150874"/>
              <a:gd name="connsiteX6" fmla="*/ 697052 w 3687052"/>
              <a:gd name="connsiteY6" fmla="*/ 5150874 h 5150874"/>
              <a:gd name="connsiteX7" fmla="*/ 0 w 3687052"/>
              <a:gd name="connsiteY7" fmla="*/ 3447865 h 5150874"/>
              <a:gd name="connsiteX8" fmla="*/ 327259 w 3687052"/>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430498 w 3790291"/>
              <a:gd name="connsiteY0" fmla="*/ 425100 h 5150874"/>
              <a:gd name="connsiteX1" fmla="*/ 2314329 w 3790291"/>
              <a:gd name="connsiteY1" fmla="*/ 0 h 5150874"/>
              <a:gd name="connsiteX2" fmla="*/ 3586551 w 3790291"/>
              <a:gd name="connsiteY2" fmla="*/ 1325414 h 5150874"/>
              <a:gd name="connsiteX3" fmla="*/ 3740086 w 3790291"/>
              <a:gd name="connsiteY3" fmla="*/ 2096830 h 5150874"/>
              <a:gd name="connsiteX4" fmla="*/ 3116695 w 3790291"/>
              <a:gd name="connsiteY4" fmla="*/ 4225261 h 5150874"/>
              <a:gd name="connsiteX5" fmla="*/ 2565651 w 3790291"/>
              <a:gd name="connsiteY5" fmla="*/ 4719988 h 5150874"/>
              <a:gd name="connsiteX6" fmla="*/ 800291 w 3790291"/>
              <a:gd name="connsiteY6" fmla="*/ 5150874 h 5150874"/>
              <a:gd name="connsiteX7" fmla="*/ 0 w 3790291"/>
              <a:gd name="connsiteY7" fmla="*/ 4325394 h 5150874"/>
              <a:gd name="connsiteX8" fmla="*/ 430498 w 3790291"/>
              <a:gd name="connsiteY8" fmla="*/ 425100 h 5150874"/>
              <a:gd name="connsiteX0" fmla="*/ 63749 w 3423542"/>
              <a:gd name="connsiteY0" fmla="*/ 425100 h 5150874"/>
              <a:gd name="connsiteX1" fmla="*/ 1947580 w 3423542"/>
              <a:gd name="connsiteY1" fmla="*/ 0 h 5150874"/>
              <a:gd name="connsiteX2" fmla="*/ 3219802 w 3423542"/>
              <a:gd name="connsiteY2" fmla="*/ 1325414 h 5150874"/>
              <a:gd name="connsiteX3" fmla="*/ 3373337 w 3423542"/>
              <a:gd name="connsiteY3" fmla="*/ 2096830 h 5150874"/>
              <a:gd name="connsiteX4" fmla="*/ 2749946 w 3423542"/>
              <a:gd name="connsiteY4" fmla="*/ 4225261 h 5150874"/>
              <a:gd name="connsiteX5" fmla="*/ 2198902 w 3423542"/>
              <a:gd name="connsiteY5" fmla="*/ 4719988 h 5150874"/>
              <a:gd name="connsiteX6" fmla="*/ 433542 w 3423542"/>
              <a:gd name="connsiteY6" fmla="*/ 5150874 h 5150874"/>
              <a:gd name="connsiteX7" fmla="*/ 60954 w 3423542"/>
              <a:gd name="connsiteY7" fmla="*/ 5143930 h 5150874"/>
              <a:gd name="connsiteX8" fmla="*/ 63749 w 3423542"/>
              <a:gd name="connsiteY8" fmla="*/ 425100 h 5150874"/>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63749 w 3423542"/>
              <a:gd name="connsiteY0" fmla="*/ 425100 h 5147187"/>
              <a:gd name="connsiteX1" fmla="*/ 1947580 w 3423542"/>
              <a:gd name="connsiteY1" fmla="*/ 0 h 5147187"/>
              <a:gd name="connsiteX2" fmla="*/ 3219802 w 3423542"/>
              <a:gd name="connsiteY2" fmla="*/ 1325414 h 5147187"/>
              <a:gd name="connsiteX3" fmla="*/ 3373337 w 3423542"/>
              <a:gd name="connsiteY3" fmla="*/ 2096830 h 5147187"/>
              <a:gd name="connsiteX4" fmla="*/ 2749946 w 3423542"/>
              <a:gd name="connsiteY4" fmla="*/ 4225261 h 5147187"/>
              <a:gd name="connsiteX5" fmla="*/ 2198902 w 3423542"/>
              <a:gd name="connsiteY5" fmla="*/ 4719988 h 5147187"/>
              <a:gd name="connsiteX6" fmla="*/ 440916 w 3423542"/>
              <a:gd name="connsiteY6" fmla="*/ 5147187 h 5147187"/>
              <a:gd name="connsiteX7" fmla="*/ 60954 w 3423542"/>
              <a:gd name="connsiteY7" fmla="*/ 5143930 h 5147187"/>
              <a:gd name="connsiteX8" fmla="*/ 63749 w 3423542"/>
              <a:gd name="connsiteY8" fmla="*/ 425100 h 5147187"/>
              <a:gd name="connsiteX0" fmla="*/ 2795 w 3362588"/>
              <a:gd name="connsiteY0" fmla="*/ 425100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2795 w 3362588"/>
              <a:gd name="connsiteY8" fmla="*/ 425100 h 5147187"/>
              <a:gd name="connsiteX0" fmla="*/ 2795 w 3362588"/>
              <a:gd name="connsiteY0" fmla="*/ 0 h 5160852"/>
              <a:gd name="connsiteX1" fmla="*/ 1886626 w 3362588"/>
              <a:gd name="connsiteY1" fmla="*/ 13665 h 5160852"/>
              <a:gd name="connsiteX2" fmla="*/ 3158848 w 3362588"/>
              <a:gd name="connsiteY2" fmla="*/ 1339079 h 5160852"/>
              <a:gd name="connsiteX3" fmla="*/ 3312383 w 3362588"/>
              <a:gd name="connsiteY3" fmla="*/ 2110495 h 5160852"/>
              <a:gd name="connsiteX4" fmla="*/ 2688992 w 3362588"/>
              <a:gd name="connsiteY4" fmla="*/ 4238926 h 5160852"/>
              <a:gd name="connsiteX5" fmla="*/ 2137948 w 3362588"/>
              <a:gd name="connsiteY5" fmla="*/ 4733653 h 5160852"/>
              <a:gd name="connsiteX6" fmla="*/ 379962 w 3362588"/>
              <a:gd name="connsiteY6" fmla="*/ 5160852 h 5160852"/>
              <a:gd name="connsiteX7" fmla="*/ 0 w 3362588"/>
              <a:gd name="connsiteY7" fmla="*/ 5157595 h 5160852"/>
              <a:gd name="connsiteX8" fmla="*/ 2795 w 3362588"/>
              <a:gd name="connsiteY8" fmla="*/ 0 h 5160852"/>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8585 w 3442120"/>
              <a:gd name="connsiteY0" fmla="*/ 37 h 5223569"/>
              <a:gd name="connsiteX1" fmla="*/ 1966158 w 3442120"/>
              <a:gd name="connsiteY1" fmla="*/ 76382 h 5223569"/>
              <a:gd name="connsiteX2" fmla="*/ 3238380 w 3442120"/>
              <a:gd name="connsiteY2" fmla="*/ 1401796 h 5223569"/>
              <a:gd name="connsiteX3" fmla="*/ 3391915 w 3442120"/>
              <a:gd name="connsiteY3" fmla="*/ 2173212 h 5223569"/>
              <a:gd name="connsiteX4" fmla="*/ 2768524 w 3442120"/>
              <a:gd name="connsiteY4" fmla="*/ 4301643 h 5223569"/>
              <a:gd name="connsiteX5" fmla="*/ 2217480 w 3442120"/>
              <a:gd name="connsiteY5" fmla="*/ 4796370 h 5223569"/>
              <a:gd name="connsiteX6" fmla="*/ 459494 w 3442120"/>
              <a:gd name="connsiteY6" fmla="*/ 5223569 h 5223569"/>
              <a:gd name="connsiteX7" fmla="*/ 79532 w 3442120"/>
              <a:gd name="connsiteY7" fmla="*/ 5220312 h 5223569"/>
              <a:gd name="connsiteX8" fmla="*/ 8585 w 3442120"/>
              <a:gd name="connsiteY8" fmla="*/ 37 h 5223569"/>
              <a:gd name="connsiteX0" fmla="*/ 0 w 3433535"/>
              <a:gd name="connsiteY0" fmla="*/ 0 h 5223532"/>
              <a:gd name="connsiteX1" fmla="*/ 1957573 w 3433535"/>
              <a:gd name="connsiteY1" fmla="*/ 76345 h 5223532"/>
              <a:gd name="connsiteX2" fmla="*/ 3229795 w 3433535"/>
              <a:gd name="connsiteY2" fmla="*/ 1401759 h 5223532"/>
              <a:gd name="connsiteX3" fmla="*/ 3383330 w 3433535"/>
              <a:gd name="connsiteY3" fmla="*/ 2173175 h 5223532"/>
              <a:gd name="connsiteX4" fmla="*/ 2759939 w 3433535"/>
              <a:gd name="connsiteY4" fmla="*/ 4301606 h 5223532"/>
              <a:gd name="connsiteX5" fmla="*/ 2208895 w 3433535"/>
              <a:gd name="connsiteY5" fmla="*/ 4796333 h 5223532"/>
              <a:gd name="connsiteX6" fmla="*/ 450909 w 3433535"/>
              <a:gd name="connsiteY6" fmla="*/ 5223532 h 5223532"/>
              <a:gd name="connsiteX7" fmla="*/ 70947 w 3433535"/>
              <a:gd name="connsiteY7" fmla="*/ 5220275 h 5223532"/>
              <a:gd name="connsiteX8" fmla="*/ 0 w 3433535"/>
              <a:gd name="connsiteY8" fmla="*/ 0 h 5223532"/>
              <a:gd name="connsiteX0" fmla="*/ 6482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6482 w 3362588"/>
              <a:gd name="connsiteY8" fmla="*/ 0 h 5149790"/>
              <a:gd name="connsiteX0" fmla="*/ 6482 w 3362588"/>
              <a:gd name="connsiteY0" fmla="*/ 572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6482 w 3362588"/>
              <a:gd name="connsiteY8" fmla="*/ 572 h 5147187"/>
              <a:gd name="connsiteX0" fmla="*/ 132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132 w 3362588"/>
              <a:gd name="connsiteY8" fmla="*/ 3747 h 5147187"/>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0 h 5152965"/>
              <a:gd name="connsiteX1" fmla="*/ 1886626 w 3362588"/>
              <a:gd name="connsiteY1" fmla="*/ 5778 h 5152965"/>
              <a:gd name="connsiteX2" fmla="*/ 3158848 w 3362588"/>
              <a:gd name="connsiteY2" fmla="*/ 1331192 h 5152965"/>
              <a:gd name="connsiteX3" fmla="*/ 3312383 w 3362588"/>
              <a:gd name="connsiteY3" fmla="*/ 2102608 h 5152965"/>
              <a:gd name="connsiteX4" fmla="*/ 2688992 w 3362588"/>
              <a:gd name="connsiteY4" fmla="*/ 4231039 h 5152965"/>
              <a:gd name="connsiteX5" fmla="*/ 2137948 w 3362588"/>
              <a:gd name="connsiteY5" fmla="*/ 4725766 h 5152965"/>
              <a:gd name="connsiteX6" fmla="*/ 379962 w 3362588"/>
              <a:gd name="connsiteY6" fmla="*/ 5152965 h 5152965"/>
              <a:gd name="connsiteX7" fmla="*/ 0 w 3362588"/>
              <a:gd name="connsiteY7" fmla="*/ 5149708 h 5152965"/>
              <a:gd name="connsiteX8" fmla="*/ 3307 w 3362588"/>
              <a:gd name="connsiteY8" fmla="*/ 0 h 5152965"/>
              <a:gd name="connsiteX0" fmla="*/ 3307 w 3362588"/>
              <a:gd name="connsiteY0" fmla="*/ 3747 h 5147187"/>
              <a:gd name="connsiteX1" fmla="*/ 1886626 w 3362588"/>
              <a:gd name="connsiteY1" fmla="*/ 0 h 5147187"/>
              <a:gd name="connsiteX2" fmla="*/ 3158848 w 3362588"/>
              <a:gd name="connsiteY2" fmla="*/ 1325414 h 5147187"/>
              <a:gd name="connsiteX3" fmla="*/ 3312383 w 3362588"/>
              <a:gd name="connsiteY3" fmla="*/ 2096830 h 5147187"/>
              <a:gd name="connsiteX4" fmla="*/ 2688992 w 3362588"/>
              <a:gd name="connsiteY4" fmla="*/ 4225261 h 5147187"/>
              <a:gd name="connsiteX5" fmla="*/ 2137948 w 3362588"/>
              <a:gd name="connsiteY5" fmla="*/ 4719988 h 5147187"/>
              <a:gd name="connsiteX6" fmla="*/ 379962 w 3362588"/>
              <a:gd name="connsiteY6" fmla="*/ 5147187 h 5147187"/>
              <a:gd name="connsiteX7" fmla="*/ 0 w 3362588"/>
              <a:gd name="connsiteY7" fmla="*/ 5143930 h 5147187"/>
              <a:gd name="connsiteX8" fmla="*/ 3307 w 3362588"/>
              <a:gd name="connsiteY8" fmla="*/ 3747 h 5147187"/>
              <a:gd name="connsiteX0" fmla="*/ 3307 w 3362588"/>
              <a:gd name="connsiteY0" fmla="*/ 0 h 5149790"/>
              <a:gd name="connsiteX1" fmla="*/ 1886626 w 3362588"/>
              <a:gd name="connsiteY1" fmla="*/ 2603 h 5149790"/>
              <a:gd name="connsiteX2" fmla="*/ 3158848 w 3362588"/>
              <a:gd name="connsiteY2" fmla="*/ 1328017 h 5149790"/>
              <a:gd name="connsiteX3" fmla="*/ 3312383 w 3362588"/>
              <a:gd name="connsiteY3" fmla="*/ 2099433 h 5149790"/>
              <a:gd name="connsiteX4" fmla="*/ 2688992 w 3362588"/>
              <a:gd name="connsiteY4" fmla="*/ 4227864 h 5149790"/>
              <a:gd name="connsiteX5" fmla="*/ 2137948 w 3362588"/>
              <a:gd name="connsiteY5" fmla="*/ 4722591 h 5149790"/>
              <a:gd name="connsiteX6" fmla="*/ 379962 w 3362588"/>
              <a:gd name="connsiteY6" fmla="*/ 5149790 h 5149790"/>
              <a:gd name="connsiteX7" fmla="*/ 0 w 3362588"/>
              <a:gd name="connsiteY7" fmla="*/ 5146533 h 5149790"/>
              <a:gd name="connsiteX8" fmla="*/ 3307 w 3362588"/>
              <a:gd name="connsiteY8" fmla="*/ 0 h 514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2588" h="5149790">
                <a:moveTo>
                  <a:pt x="3307" y="0"/>
                </a:moveTo>
                <a:cubicBezTo>
                  <a:pt x="6994" y="4885"/>
                  <a:pt x="1651850" y="2603"/>
                  <a:pt x="1886626" y="2603"/>
                </a:cubicBezTo>
                <a:lnTo>
                  <a:pt x="3158848" y="1328017"/>
                </a:lnTo>
                <a:cubicBezTo>
                  <a:pt x="3415745" y="1619297"/>
                  <a:pt x="3382438" y="1827787"/>
                  <a:pt x="3312383" y="2099433"/>
                </a:cubicBezTo>
                <a:cubicBezTo>
                  <a:pt x="3139128" y="2654634"/>
                  <a:pt x="2781364" y="3951175"/>
                  <a:pt x="2688992" y="4227864"/>
                </a:cubicBezTo>
                <a:cubicBezTo>
                  <a:pt x="2582066" y="4525320"/>
                  <a:pt x="2475962" y="4619353"/>
                  <a:pt x="2137948" y="4722591"/>
                </a:cubicBezTo>
                <a:lnTo>
                  <a:pt x="379962" y="5149790"/>
                </a:lnTo>
                <a:cubicBezTo>
                  <a:pt x="384848" y="5146103"/>
                  <a:pt x="7374" y="5149022"/>
                  <a:pt x="0" y="5146533"/>
                </a:cubicBezTo>
                <a:cubicBezTo>
                  <a:pt x="3390" y="5151668"/>
                  <a:pt x="3605" y="9614"/>
                  <a:pt x="3307" y="0"/>
                </a:cubicBezTo>
                <a:close/>
              </a:path>
            </a:pathLst>
          </a:custGeom>
        </p:spPr>
      </p:pic>
      <p:pic>
        <p:nvPicPr>
          <p:cNvPr id="12" name="Picture 11">
            <a:extLst>
              <a:ext uri="{FF2B5EF4-FFF2-40B4-BE49-F238E27FC236}">
                <a16:creationId xmlns:a16="http://schemas.microsoft.com/office/drawing/2014/main" id="{D1BBFB28-B1AF-C249-BB63-0D06D590D12F}"/>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47323" y="275686"/>
            <a:ext cx="534416" cy="534416"/>
          </a:xfrm>
          <a:prstGeom prst="rect">
            <a:avLst/>
          </a:prstGeom>
        </p:spPr>
      </p:pic>
      <p:pic>
        <p:nvPicPr>
          <p:cNvPr id="3" name="Picture 2"/>
          <p:cNvPicPr>
            <a:picLocks noChangeAspect="1"/>
          </p:cNvPicPr>
          <p:nvPr/>
        </p:nvPicPr>
        <p:blipFill>
          <a:blip r:embed="rId6"/>
          <a:stretch>
            <a:fillRect/>
          </a:stretch>
        </p:blipFill>
        <p:spPr>
          <a:xfrm>
            <a:off x="2653005" y="4311197"/>
            <a:ext cx="1219199" cy="276022"/>
          </a:xfrm>
          <a:prstGeom prst="rect">
            <a:avLst/>
          </a:prstGeom>
        </p:spPr>
      </p:pic>
    </p:spTree>
    <p:extLst>
      <p:ext uri="{BB962C8B-B14F-4D97-AF65-F5344CB8AC3E}">
        <p14:creationId xmlns:p14="http://schemas.microsoft.com/office/powerpoint/2010/main" val="27730475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11"/>
          <a:stretch>
            <a:fillRect/>
          </a:stretch>
        </p:blipFill>
        <p:spPr>
          <a:xfrm>
            <a:off x="141503" y="4267580"/>
            <a:ext cx="6062985" cy="268142"/>
          </a:xfrm>
          <a:prstGeom prst="rect">
            <a:avLst/>
          </a:prstGeom>
        </p:spPr>
      </p:pic>
      <p:pic>
        <p:nvPicPr>
          <p:cNvPr id="2" name="Picture 1"/>
          <p:cNvPicPr>
            <a:picLocks noChangeAspect="1"/>
          </p:cNvPicPr>
          <p:nvPr/>
        </p:nvPicPr>
        <p:blipFill>
          <a:blip r:embed="rId12"/>
          <a:stretch>
            <a:fillRect/>
          </a:stretch>
        </p:blipFill>
        <p:spPr>
          <a:xfrm>
            <a:off x="5731625" y="4167828"/>
            <a:ext cx="3412375" cy="975672"/>
          </a:xfrm>
          <a:prstGeom prst="rect">
            <a:avLst/>
          </a:prstGeom>
        </p:spPr>
      </p:pic>
      <p:graphicFrame>
        <p:nvGraphicFramePr>
          <p:cNvPr id="6" name="Object 5"/>
          <p:cNvGraphicFramePr>
            <a:graphicFrameLocks/>
          </p:cNvGraphicFramePr>
          <p:nvPr>
            <p:custDataLst>
              <p:tags r:id="rId2"/>
            </p:custDataLst>
            <p:extLst>
              <p:ext uri="{D42A27DB-BD31-4B8C-83A1-F6EECF244321}">
                <p14:modId xmlns:p14="http://schemas.microsoft.com/office/powerpoint/2010/main" val="3013137480"/>
              </p:ext>
            </p:extLst>
          </p:nvPr>
        </p:nvGraphicFramePr>
        <p:xfrm>
          <a:off x="228601" y="1524000"/>
          <a:ext cx="4457621" cy="2324226"/>
        </p:xfrm>
        <a:graphic>
          <a:graphicData uri="http://schemas.openxmlformats.org/presentationml/2006/ole">
            <mc:AlternateContent xmlns:mc="http://schemas.openxmlformats.org/markup-compatibility/2006">
              <mc:Choice xmlns:v="urn:schemas-microsoft-com:vml" Requires="v">
                <p:oleObj spid="_x0000_s116741" name="Chart" r:id="rId13" imgW="4457621" imgH="2324226" progId="MSGraph.Chart.8">
                  <p:embed followColorScheme="full"/>
                </p:oleObj>
              </mc:Choice>
              <mc:Fallback>
                <p:oleObj name="Chart" r:id="rId13" imgW="4457621" imgH="2324226" progId="MSGraph.Chart.8">
                  <p:embed followColorScheme="full"/>
                  <p:pic>
                    <p:nvPicPr>
                      <p:cNvPr id="2" name="Object 1"/>
                      <p:cNvPicPr/>
                      <p:nvPr/>
                    </p:nvPicPr>
                    <p:blipFill>
                      <a:blip r:embed="rId14"/>
                      <a:stretch>
                        <a:fillRect/>
                      </a:stretch>
                    </p:blipFill>
                    <p:spPr>
                      <a:xfrm>
                        <a:off x="228601" y="1524000"/>
                        <a:ext cx="4457621" cy="2324226"/>
                      </a:xfrm>
                      <a:prstGeom prst="rect">
                        <a:avLst/>
                      </a:prstGeom>
                    </p:spPr>
                  </p:pic>
                </p:oleObj>
              </mc:Fallback>
            </mc:AlternateContent>
          </a:graphicData>
        </a:graphic>
      </p:graphicFrame>
      <p:sp>
        <p:nvSpPr>
          <p:cNvPr id="7" name="Rectangle 6"/>
          <p:cNvSpPr/>
          <p:nvPr>
            <p:custDataLst>
              <p:tags r:id="rId3"/>
            </p:custDataLst>
          </p:nvPr>
        </p:nvSpPr>
        <p:spPr bwMode="auto">
          <a:xfrm>
            <a:off x="3227388" y="3784600"/>
            <a:ext cx="1236663" cy="3651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8AECD6AA-1433-4E23-9F13-46B6D342FDAD}" type="datetime'''Lat''i''''n'' Amer''ica and'' ''the'' ''Cari''bb''''''e''an'">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Latin America and the Caribbean</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p:txBody>
      </p:sp>
      <p:sp>
        <p:nvSpPr>
          <p:cNvPr id="8" name="Rectangle 7"/>
          <p:cNvSpPr/>
          <p:nvPr>
            <p:custDataLst>
              <p:tags r:id="rId4"/>
            </p:custDataLst>
          </p:nvPr>
        </p:nvSpPr>
        <p:spPr bwMode="auto">
          <a:xfrm>
            <a:off x="1804988" y="3784600"/>
            <a:ext cx="1338263"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CB1B4BCB-AF92-4258-9311-9B1F28B875E7}" type="datetime'Su''''''''b''-''''''Sa''''''har''an'''''' A''''f''r''ica'">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Sub-Saharan Africa</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p:txBody>
      </p:sp>
      <p:sp>
        <p:nvSpPr>
          <p:cNvPr id="9" name="Rectangle 8"/>
          <p:cNvSpPr/>
          <p:nvPr>
            <p:custDataLst>
              <p:tags r:id="rId5"/>
            </p:custDataLst>
          </p:nvPr>
        </p:nvSpPr>
        <p:spPr bwMode="auto">
          <a:xfrm>
            <a:off x="947738" y="3784600"/>
            <a:ext cx="307975" cy="182563"/>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fld id="{D29DBB95-3A8E-4B38-8067-A6E35ABF5822}" type="datetime'A''''''s''i''''''''''a'''''''''''''''''''''''''''''''''''''''">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Tx/>
                <a:buNone/>
                <a:tabLst/>
                <a:defRPr/>
              </a:pPr>
              <a:t>Asia</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p:txBody>
      </p:sp>
      <p:sp>
        <p:nvSpPr>
          <p:cNvPr id="10" name="Rectangle 9"/>
          <p:cNvSpPr/>
          <p:nvPr>
            <p:custDataLst>
              <p:tags r:id="rId6"/>
            </p:custDataLst>
          </p:nvPr>
        </p:nvSpPr>
        <p:spPr bwMode="auto">
          <a:xfrm>
            <a:off x="1401763" y="4194175"/>
            <a:ext cx="250825" cy="187325"/>
          </a:xfrm>
          <a:prstGeom prst="rect">
            <a:avLst/>
          </a:prstGeom>
          <a:solidFill>
            <a:srgbClr val="5AACD4"/>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Rectangle 10"/>
          <p:cNvSpPr/>
          <p:nvPr>
            <p:custDataLst>
              <p:tags r:id="rId7"/>
            </p:custDataLst>
          </p:nvPr>
        </p:nvSpPr>
        <p:spPr bwMode="auto">
          <a:xfrm>
            <a:off x="604838" y="4194175"/>
            <a:ext cx="250825" cy="187325"/>
          </a:xfrm>
          <a:prstGeom prst="rect">
            <a:avLst/>
          </a:prstGeom>
          <a:solidFill>
            <a:srgbClr val="00568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 name="Rectangle 11"/>
          <p:cNvSpPr/>
          <p:nvPr>
            <p:custDataLst>
              <p:tags r:id="rId8"/>
            </p:custDataLst>
          </p:nvPr>
        </p:nvSpPr>
        <p:spPr bwMode="auto">
          <a:xfrm>
            <a:off x="906463" y="4189413"/>
            <a:ext cx="393700"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59042620-0E8B-4318-BC48-24C9314F23CB}" type="datetime'''''''''20''''''''''''''''''1''''''''''''8'''''''''''''''''">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2018</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p:txBody>
      </p:sp>
      <p:sp>
        <p:nvSpPr>
          <p:cNvPr id="13" name="Rectangle 12"/>
          <p:cNvSpPr/>
          <p:nvPr>
            <p:custDataLst>
              <p:tags r:id="rId9"/>
            </p:custDataLst>
          </p:nvPr>
        </p:nvSpPr>
        <p:spPr bwMode="auto">
          <a:xfrm>
            <a:off x="1703388" y="4189413"/>
            <a:ext cx="393700"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389AC755-18EB-4062-85D4-C2A49C91C0E4}" type="datetime'''''''2''''''''''''''0''''2''''''''5'''''''''''''''">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2025</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mn-lt"/>
            </a:endParaRPr>
          </a:p>
        </p:txBody>
      </p:sp>
      <p:sp>
        <p:nvSpPr>
          <p:cNvPr id="14" name="Rectangle 13"/>
          <p:cNvSpPr/>
          <p:nvPr/>
        </p:nvSpPr>
        <p:spPr>
          <a:xfrm>
            <a:off x="137156" y="1208086"/>
            <a:ext cx="4175125" cy="360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smtClean="0">
                <a:ln>
                  <a:noFill/>
                </a:ln>
                <a:solidFill>
                  <a:srgbClr val="00ACD4"/>
                </a:solidFill>
                <a:effectLst/>
                <a:uLnTx/>
                <a:uFillTx/>
                <a:latin typeface="Arial" panose="020B0604020202020204" pitchFamily="34" charset="0"/>
                <a:cs typeface="Arial" panose="020B0604020202020204" pitchFamily="34" charset="0"/>
              </a:rPr>
              <a:t>SMARTPHONE PENETRATION (2018 &amp; 2025)</a:t>
            </a:r>
            <a:endParaRPr kumimoji="0" lang="en-GB" sz="1200" b="1" i="0" u="none" strike="noStrike" kern="1200" cap="none" spc="0" normalizeH="0" baseline="0" noProof="0" dirty="0">
              <a:ln>
                <a:noFill/>
              </a:ln>
              <a:solidFill>
                <a:srgbClr val="00ACD4"/>
              </a:solidFill>
              <a:effectLst/>
              <a:uLnTx/>
              <a:uFillTx/>
              <a:latin typeface="Arial" panose="020B0604020202020204" pitchFamily="34" charset="0"/>
              <a:cs typeface="Arial" panose="020B0604020202020204" pitchFamily="34" charset="0"/>
            </a:endParaRPr>
          </a:p>
        </p:txBody>
      </p:sp>
      <p:sp>
        <p:nvSpPr>
          <p:cNvPr id="15" name="Rectangle 14"/>
          <p:cNvSpPr/>
          <p:nvPr/>
        </p:nvSpPr>
        <p:spPr>
          <a:xfrm>
            <a:off x="4648120" y="1402022"/>
            <a:ext cx="4428147" cy="2693045"/>
          </a:xfrm>
          <a:prstGeom prst="rect">
            <a:avLst/>
          </a:prstGeom>
          <a:solidFill>
            <a:srgbClr val="FFF8E4"/>
          </a:solidFill>
        </p:spPr>
        <p:txBody>
          <a:bodyPr wrap="square">
            <a:spAutoFit/>
          </a:bodyPr>
          <a:lstStyle/>
          <a:p>
            <a:pPr marL="285750" lvl="0" indent="-285750">
              <a:buClr>
                <a:srgbClr val="00ACD4"/>
              </a:buClr>
              <a:buFont typeface="Arial" panose="020B0604020202020204" pitchFamily="34" charset="0"/>
              <a:buChar char="•"/>
              <a:defRPr/>
            </a:pPr>
            <a:r>
              <a:rPr lang="en-GB" sz="1300" b="1" dirty="0" smtClean="0">
                <a:solidFill>
                  <a:srgbClr val="193C6D"/>
                </a:solidFill>
                <a:latin typeface="Arial" panose="020B0604020202020204" pitchFamily="34" charset="0"/>
                <a:ea typeface="Calibri" panose="020F0502020204030204" pitchFamily="34" charset="0"/>
                <a:cs typeface="Arial" panose="020B0604020202020204" pitchFamily="34" charset="0"/>
              </a:rPr>
              <a:t>USSD remains the dominant channel today:</a:t>
            </a:r>
          </a:p>
          <a:p>
            <a:pPr marL="742950" lvl="1" indent="-285750">
              <a:buClr>
                <a:srgbClr val="00ACD4"/>
              </a:buClr>
              <a:buFont typeface="Arial" panose="020B0604020202020204" pitchFamily="34" charset="0"/>
              <a:buChar char="•"/>
              <a:defRPr/>
            </a:pPr>
            <a:r>
              <a:rPr lang="en-GB" sz="1300" dirty="0" smtClean="0">
                <a:solidFill>
                  <a:srgbClr val="193C6D"/>
                </a:solidFill>
                <a:latin typeface="Arial" panose="020B0604020202020204" pitchFamily="34" charset="0"/>
                <a:ea typeface="Calibri" panose="020F0502020204030204" pitchFamily="34" charset="0"/>
                <a:cs typeface="Arial" panose="020B0604020202020204" pitchFamily="34" charset="0"/>
              </a:rPr>
              <a:t>Over </a:t>
            </a:r>
            <a:r>
              <a:rPr lang="en-GB" sz="1300" b="1" dirty="0">
                <a:solidFill>
                  <a:srgbClr val="193C6D"/>
                </a:solidFill>
                <a:latin typeface="Arial" panose="020B0604020202020204" pitchFamily="34" charset="0"/>
                <a:ea typeface="Calibri" panose="020F0502020204030204" pitchFamily="34" charset="0"/>
                <a:cs typeface="Arial" panose="020B0604020202020204" pitchFamily="34" charset="0"/>
              </a:rPr>
              <a:t>90% </a:t>
            </a:r>
            <a:r>
              <a:rPr lang="en-GB" sz="1300" dirty="0">
                <a:solidFill>
                  <a:srgbClr val="193C6D"/>
                </a:solidFill>
                <a:latin typeface="Arial" panose="020B0604020202020204" pitchFamily="34" charset="0"/>
                <a:ea typeface="Calibri" panose="020F0502020204030204" pitchFamily="34" charset="0"/>
                <a:cs typeface="Arial" panose="020B0604020202020204" pitchFamily="34" charset="0"/>
              </a:rPr>
              <a:t>of mobile money transactions in </a:t>
            </a:r>
            <a:r>
              <a:rPr lang="en-GB" sz="1300" b="1" dirty="0">
                <a:solidFill>
                  <a:srgbClr val="193C6D"/>
                </a:solidFill>
                <a:latin typeface="Arial" panose="020B0604020202020204" pitchFamily="34" charset="0"/>
                <a:ea typeface="Calibri" panose="020F0502020204030204" pitchFamily="34" charset="0"/>
                <a:cs typeface="Arial" panose="020B0604020202020204" pitchFamily="34" charset="0"/>
              </a:rPr>
              <a:t>Sub-Saharan Africa </a:t>
            </a:r>
            <a:r>
              <a:rPr lang="en-GB" sz="1300" dirty="0" smtClean="0">
                <a:solidFill>
                  <a:srgbClr val="193C6D"/>
                </a:solidFill>
                <a:latin typeface="Arial" panose="020B0604020202020204" pitchFamily="34" charset="0"/>
                <a:ea typeface="Calibri" panose="020F0502020204030204" pitchFamily="34" charset="0"/>
                <a:cs typeface="Arial" panose="020B0604020202020204" pitchFamily="34" charset="0"/>
              </a:rPr>
              <a:t>are still </a:t>
            </a:r>
            <a:r>
              <a:rPr lang="en-GB" sz="1300" dirty="0">
                <a:solidFill>
                  <a:srgbClr val="193C6D"/>
                </a:solidFill>
                <a:latin typeface="Arial" panose="020B0604020202020204" pitchFamily="34" charset="0"/>
                <a:ea typeface="Calibri" panose="020F0502020204030204" pitchFamily="34" charset="0"/>
                <a:cs typeface="Arial" panose="020B0604020202020204" pitchFamily="34" charset="0"/>
              </a:rPr>
              <a:t>processed via </a:t>
            </a:r>
            <a:r>
              <a:rPr lang="en-GB" sz="1300" dirty="0" smtClean="0">
                <a:solidFill>
                  <a:srgbClr val="193C6D"/>
                </a:solidFill>
                <a:latin typeface="Arial" panose="020B0604020202020204" pitchFamily="34" charset="0"/>
                <a:ea typeface="Calibri" panose="020F0502020204030204" pitchFamily="34" charset="0"/>
                <a:cs typeface="Arial" panose="020B0604020202020204" pitchFamily="34" charset="0"/>
              </a:rPr>
              <a:t>USSD</a:t>
            </a:r>
          </a:p>
          <a:p>
            <a:pPr lvl="1">
              <a:buClr>
                <a:srgbClr val="00ACD4"/>
              </a:buClr>
              <a:defRPr/>
            </a:pPr>
            <a:endParaRPr kumimoji="0" lang="en-GB" sz="1300" b="0" i="0" u="none" strike="noStrike" kern="1200" cap="none" spc="0" normalizeH="0" baseline="0" noProof="0" dirty="0" smtClean="0">
              <a:ln>
                <a:noFill/>
              </a:ln>
              <a:solidFill>
                <a:srgbClr val="193C6D"/>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00ACD4"/>
              </a:buClr>
              <a:buSzTx/>
              <a:buFont typeface="Arial" panose="020B0604020202020204" pitchFamily="34" charset="0"/>
              <a:buChar char="•"/>
              <a:tabLst/>
              <a:defRPr/>
            </a:pPr>
            <a:r>
              <a:rPr kumimoji="0" lang="en-GB" sz="1300" b="1" i="0" u="none" strike="noStrike" kern="1200" cap="none" spc="0" normalizeH="0" baseline="0" noProof="0" dirty="0" smtClean="0">
                <a:ln>
                  <a:noFill/>
                </a:ln>
                <a:solidFill>
                  <a:srgbClr val="193C6D"/>
                </a:solidFill>
                <a:effectLst/>
                <a:uLnTx/>
                <a:uFillTx/>
                <a:latin typeface="Arial" panose="020B0604020202020204" pitchFamily="34" charset="0"/>
                <a:cs typeface="Arial" panose="020B0604020202020204" pitchFamily="34" charset="0"/>
              </a:rPr>
              <a:t>Dramatic uptake</a:t>
            </a:r>
            <a:r>
              <a:rPr kumimoji="0" lang="en-GB" sz="1300" b="1" i="0" u="none" strike="noStrike" kern="1200" cap="none" spc="0" normalizeH="0" noProof="0" dirty="0" smtClean="0">
                <a:ln>
                  <a:noFill/>
                </a:ln>
                <a:solidFill>
                  <a:srgbClr val="193C6D"/>
                </a:solidFill>
                <a:effectLst/>
                <a:uLnTx/>
                <a:uFillTx/>
                <a:latin typeface="Arial" panose="020B0604020202020204" pitchFamily="34" charset="0"/>
                <a:cs typeface="Arial" panose="020B0604020202020204" pitchFamily="34" charset="0"/>
              </a:rPr>
              <a:t> in smartphone adoption</a:t>
            </a:r>
            <a:r>
              <a:rPr kumimoji="0" lang="en-GB" sz="1300" b="1" i="0" u="none" strike="noStrike" kern="1200" cap="none" spc="0" normalizeH="0" baseline="0" noProof="0" dirty="0" smtClean="0">
                <a:ln>
                  <a:noFill/>
                </a:ln>
                <a:solidFill>
                  <a:srgbClr val="193C6D"/>
                </a:solidFill>
                <a:effectLst/>
                <a:uLnTx/>
                <a:uFillTx/>
                <a:latin typeface="Arial" panose="020B0604020202020204" pitchFamily="34" charset="0"/>
                <a:cs typeface="Arial" panose="020B0604020202020204" pitchFamily="34" charset="0"/>
              </a:rPr>
              <a:t> and mobile internet</a:t>
            </a:r>
            <a:r>
              <a:rPr lang="en-GB" sz="1300" dirty="0">
                <a:solidFill>
                  <a:srgbClr val="193C6D"/>
                </a:solidFill>
                <a:latin typeface="Arial" panose="020B0604020202020204" pitchFamily="34" charset="0"/>
                <a:cs typeface="Arial" panose="020B0604020202020204" pitchFamily="34" charset="0"/>
              </a:rPr>
              <a:t> </a:t>
            </a:r>
            <a:r>
              <a:rPr lang="en-GB" sz="1300" b="1" dirty="0" smtClean="0">
                <a:solidFill>
                  <a:srgbClr val="193C6D"/>
                </a:solidFill>
                <a:latin typeface="Arial" panose="020B0604020202020204" pitchFamily="34" charset="0"/>
                <a:cs typeface="Arial" panose="020B0604020202020204" pitchFamily="34" charset="0"/>
              </a:rPr>
              <a:t>is on the horizon:</a:t>
            </a:r>
            <a:r>
              <a:rPr kumimoji="0" lang="en-GB" sz="1300" b="1" i="0" u="none" strike="noStrike" kern="1200" cap="none" spc="0" normalizeH="0" noProof="0" dirty="0" smtClean="0">
                <a:ln>
                  <a:noFill/>
                </a:ln>
                <a:solidFill>
                  <a:srgbClr val="193C6D"/>
                </a:solidFill>
                <a:effectLst/>
                <a:uLnTx/>
                <a:uFillTx/>
                <a:latin typeface="Arial" panose="020B0604020202020204" pitchFamily="34" charset="0"/>
                <a:cs typeface="Arial" panose="020B0604020202020204" pitchFamily="34" charset="0"/>
              </a:rPr>
              <a:t> </a:t>
            </a:r>
          </a:p>
          <a:p>
            <a:pPr marL="742950" lvl="1" indent="-285750">
              <a:buClr>
                <a:srgbClr val="00ACD4"/>
              </a:buClr>
              <a:buFont typeface="Arial" panose="020B0604020202020204" pitchFamily="34" charset="0"/>
              <a:buChar char="•"/>
              <a:defRPr/>
            </a:pPr>
            <a:r>
              <a:rPr kumimoji="0" lang="en-GB" sz="1300" b="1" i="0" u="none" strike="noStrike" kern="1200" cap="none" spc="0" normalizeH="0" baseline="0" noProof="0" dirty="0" smtClean="0">
                <a:ln>
                  <a:noFill/>
                </a:ln>
                <a:solidFill>
                  <a:srgbClr val="193C6D"/>
                </a:solidFill>
                <a:effectLst/>
                <a:uLnTx/>
                <a:uFillTx/>
                <a:latin typeface="Arial" panose="020B0604020202020204" pitchFamily="34" charset="0"/>
                <a:cs typeface="Arial" panose="020B0604020202020204" pitchFamily="34" charset="0"/>
              </a:rPr>
              <a:t>Smartphone</a:t>
            </a:r>
            <a:r>
              <a:rPr kumimoji="0" lang="en-GB" sz="1300" b="1" i="0" u="none" strike="noStrike" kern="1200" cap="none" spc="0" normalizeH="0" noProof="0" dirty="0" smtClean="0">
                <a:ln>
                  <a:noFill/>
                </a:ln>
                <a:solidFill>
                  <a:srgbClr val="193C6D"/>
                </a:solidFill>
                <a:effectLst/>
                <a:uLnTx/>
                <a:uFillTx/>
                <a:latin typeface="Arial" panose="020B0604020202020204" pitchFamily="34" charset="0"/>
                <a:cs typeface="Arial" panose="020B0604020202020204" pitchFamily="34" charset="0"/>
              </a:rPr>
              <a:t> adoption in Sub-Saharan Africa</a:t>
            </a:r>
            <a:r>
              <a:rPr kumimoji="0" lang="en-GB" sz="1300" b="1" i="0" u="none" strike="noStrike" kern="1200" cap="none" spc="0" normalizeH="0" baseline="0" noProof="0" dirty="0" smtClean="0">
                <a:ln>
                  <a:noFill/>
                </a:ln>
                <a:solidFill>
                  <a:srgbClr val="193C6D"/>
                </a:solidFill>
                <a:effectLst/>
                <a:uLnTx/>
                <a:uFillTx/>
                <a:latin typeface="Arial" panose="020B0604020202020204" pitchFamily="34" charset="0"/>
                <a:cs typeface="Arial" panose="020B0604020202020204" pitchFamily="34" charset="0"/>
              </a:rPr>
              <a:t>: </a:t>
            </a:r>
            <a:r>
              <a:rPr kumimoji="0" lang="en-GB" sz="1300" b="1" i="0" u="none" strike="noStrike" kern="1200" cap="none" spc="0" normalizeH="0" baseline="0" noProof="0" dirty="0">
                <a:ln>
                  <a:noFill/>
                </a:ln>
                <a:solidFill>
                  <a:srgbClr val="193C6D"/>
                </a:solidFill>
                <a:effectLst/>
                <a:uLnTx/>
                <a:uFillTx/>
                <a:latin typeface="Arial" panose="020B0604020202020204" pitchFamily="34" charset="0"/>
                <a:cs typeface="Arial" panose="020B0604020202020204" pitchFamily="34" charset="0"/>
              </a:rPr>
              <a:t>39% </a:t>
            </a:r>
            <a:r>
              <a:rPr kumimoji="0" lang="en-GB" sz="1300" b="0" i="0" u="none" strike="noStrike" kern="1200" cap="none" spc="0" normalizeH="0" baseline="0" noProof="0" dirty="0">
                <a:ln>
                  <a:noFill/>
                </a:ln>
                <a:solidFill>
                  <a:srgbClr val="193C6D"/>
                </a:solidFill>
                <a:effectLst/>
                <a:uLnTx/>
                <a:uFillTx/>
                <a:latin typeface="Arial" panose="020B0604020202020204" pitchFamily="34" charset="0"/>
                <a:cs typeface="Arial" panose="020B0604020202020204" pitchFamily="34" charset="0"/>
              </a:rPr>
              <a:t>by end of </a:t>
            </a:r>
            <a:r>
              <a:rPr kumimoji="0" lang="en-GB" sz="1300" b="1" i="0" u="none" strike="noStrike" kern="1200" cap="none" spc="0" normalizeH="0" baseline="0" noProof="0" dirty="0" smtClean="0">
                <a:ln>
                  <a:noFill/>
                </a:ln>
                <a:solidFill>
                  <a:srgbClr val="193C6D"/>
                </a:solidFill>
                <a:effectLst/>
                <a:uLnTx/>
                <a:uFillTx/>
                <a:latin typeface="Arial" panose="020B0604020202020204" pitchFamily="34" charset="0"/>
                <a:cs typeface="Arial" panose="020B0604020202020204" pitchFamily="34" charset="0"/>
              </a:rPr>
              <a:t>2018</a:t>
            </a:r>
            <a:r>
              <a:rPr kumimoji="0" lang="en-GB" sz="1300" b="0" i="0" u="none" strike="noStrike" kern="1200" cap="none" spc="0" normalizeH="0" baseline="0" noProof="0" dirty="0" smtClean="0">
                <a:ln>
                  <a:noFill/>
                </a:ln>
                <a:solidFill>
                  <a:srgbClr val="193C6D"/>
                </a:solidFill>
                <a:effectLst/>
                <a:uLnTx/>
                <a:uFillTx/>
                <a:latin typeface="Arial" panose="020B0604020202020204" pitchFamily="34" charset="0"/>
                <a:cs typeface="Arial" panose="020B0604020202020204" pitchFamily="34" charset="0"/>
              </a:rPr>
              <a:t>, set </a:t>
            </a:r>
            <a:r>
              <a:rPr kumimoji="0" lang="en-GB" sz="1300" b="0" i="0" u="none" strike="noStrike" kern="1200" cap="none" spc="0" normalizeH="0" baseline="0" noProof="0" dirty="0">
                <a:ln>
                  <a:noFill/>
                </a:ln>
                <a:solidFill>
                  <a:srgbClr val="193C6D"/>
                </a:solidFill>
                <a:effectLst/>
                <a:uLnTx/>
                <a:uFillTx/>
                <a:latin typeface="Arial" panose="020B0604020202020204" pitchFamily="34" charset="0"/>
                <a:cs typeface="Arial" panose="020B0604020202020204" pitchFamily="34" charset="0"/>
              </a:rPr>
              <a:t>to rise to </a:t>
            </a:r>
            <a:r>
              <a:rPr kumimoji="0" lang="en-GB" sz="1300" b="1" i="0" u="none" strike="noStrike" kern="1200" cap="none" spc="0" normalizeH="0" baseline="0" noProof="0" dirty="0" smtClean="0">
                <a:ln>
                  <a:noFill/>
                </a:ln>
                <a:solidFill>
                  <a:srgbClr val="193C6D"/>
                </a:solidFill>
                <a:effectLst/>
                <a:uLnTx/>
                <a:uFillTx/>
                <a:latin typeface="Arial" panose="020B0604020202020204" pitchFamily="34" charset="0"/>
                <a:cs typeface="Arial" panose="020B0604020202020204" pitchFamily="34" charset="0"/>
              </a:rPr>
              <a:t>66</a:t>
            </a:r>
            <a:r>
              <a:rPr kumimoji="0" lang="en-GB" sz="1300" b="1" i="0" u="none" strike="noStrike" kern="1200" cap="none" spc="0" normalizeH="0" baseline="0" noProof="0" dirty="0">
                <a:ln>
                  <a:noFill/>
                </a:ln>
                <a:solidFill>
                  <a:srgbClr val="193C6D"/>
                </a:solidFill>
                <a:effectLst/>
                <a:uLnTx/>
                <a:uFillTx/>
                <a:latin typeface="Arial" panose="020B0604020202020204" pitchFamily="34" charset="0"/>
                <a:cs typeface="Arial" panose="020B0604020202020204" pitchFamily="34" charset="0"/>
              </a:rPr>
              <a:t>%</a:t>
            </a:r>
            <a:r>
              <a:rPr kumimoji="0" lang="en-GB" sz="1300" b="0" i="0" u="none" strike="noStrike" kern="1200" cap="none" spc="0" normalizeH="0" baseline="0" noProof="0" dirty="0">
                <a:ln>
                  <a:noFill/>
                </a:ln>
                <a:solidFill>
                  <a:srgbClr val="193C6D"/>
                </a:solidFill>
                <a:effectLst/>
                <a:uLnTx/>
                <a:uFillTx/>
                <a:latin typeface="Arial" panose="020B0604020202020204" pitchFamily="34" charset="0"/>
                <a:cs typeface="Arial" panose="020B0604020202020204" pitchFamily="34" charset="0"/>
              </a:rPr>
              <a:t> by </a:t>
            </a:r>
            <a:r>
              <a:rPr kumimoji="0" lang="en-GB" sz="1300" b="1" i="0" u="none" strike="noStrike" kern="1200" cap="none" spc="0" normalizeH="0" baseline="0" noProof="0" dirty="0" smtClean="0">
                <a:ln>
                  <a:noFill/>
                </a:ln>
                <a:solidFill>
                  <a:srgbClr val="193C6D"/>
                </a:solidFill>
                <a:effectLst/>
                <a:uLnTx/>
                <a:uFillTx/>
                <a:latin typeface="Arial" panose="020B0604020202020204" pitchFamily="34" charset="0"/>
                <a:cs typeface="Arial" panose="020B0604020202020204" pitchFamily="34" charset="0"/>
              </a:rPr>
              <a:t>2025</a:t>
            </a:r>
          </a:p>
          <a:p>
            <a:pPr marL="742950" lvl="1" indent="-285750">
              <a:buClr>
                <a:srgbClr val="00ACD4"/>
              </a:buClr>
              <a:buFont typeface="Arial" panose="020B0604020202020204" pitchFamily="34" charset="0"/>
              <a:buChar char="•"/>
              <a:defRPr/>
            </a:pPr>
            <a:r>
              <a:rPr kumimoji="0" lang="en-GB" sz="1300" b="1" i="0" u="none" strike="noStrike" kern="1200" cap="none" spc="0" normalizeH="0" baseline="0" noProof="0" dirty="0" smtClean="0">
                <a:ln>
                  <a:noFill/>
                </a:ln>
                <a:solidFill>
                  <a:srgbClr val="193C6D"/>
                </a:solidFill>
                <a:effectLst/>
                <a:uLnTx/>
                <a:uFillTx/>
                <a:latin typeface="Arial" panose="020B0604020202020204" pitchFamily="34" charset="0"/>
                <a:cs typeface="Arial" panose="020B0604020202020204" pitchFamily="34" charset="0"/>
              </a:rPr>
              <a:t>Mobile internet</a:t>
            </a:r>
            <a:r>
              <a:rPr lang="en-GB" sz="1300" b="1" dirty="0">
                <a:solidFill>
                  <a:srgbClr val="193C6D"/>
                </a:solidFill>
                <a:latin typeface="Arial" panose="020B0604020202020204" pitchFamily="34" charset="0"/>
                <a:cs typeface="Arial" panose="020B0604020202020204" pitchFamily="34" charset="0"/>
              </a:rPr>
              <a:t> </a:t>
            </a:r>
            <a:r>
              <a:rPr lang="en-GB" sz="1300" b="1" dirty="0" smtClean="0">
                <a:solidFill>
                  <a:srgbClr val="193C6D"/>
                </a:solidFill>
                <a:latin typeface="Arial" panose="020B0604020202020204" pitchFamily="34" charset="0"/>
                <a:cs typeface="Arial" panose="020B0604020202020204" pitchFamily="34" charset="0"/>
              </a:rPr>
              <a:t>access in Sub-Saharan Africa: </a:t>
            </a:r>
            <a:r>
              <a:rPr lang="en-GB" sz="1300" dirty="0">
                <a:solidFill>
                  <a:srgbClr val="193C6D"/>
                </a:solidFill>
                <a:latin typeface="Arial" panose="020B0604020202020204" pitchFamily="34" charset="0"/>
                <a:cs typeface="Arial" panose="020B0604020202020204" pitchFamily="34" charset="0"/>
              </a:rPr>
              <a:t>an estimated </a:t>
            </a:r>
            <a:r>
              <a:rPr lang="en-GB" sz="1300" b="1" dirty="0">
                <a:solidFill>
                  <a:srgbClr val="193C6D"/>
                </a:solidFill>
                <a:latin typeface="Arial" panose="020B0604020202020204" pitchFamily="34" charset="0"/>
                <a:cs typeface="Arial" panose="020B0604020202020204" pitchFamily="34" charset="0"/>
              </a:rPr>
              <a:t>280 million </a:t>
            </a:r>
            <a:r>
              <a:rPr lang="en-GB" sz="1300" dirty="0">
                <a:solidFill>
                  <a:srgbClr val="193C6D"/>
                </a:solidFill>
                <a:latin typeface="Arial" panose="020B0604020202020204" pitchFamily="34" charset="0"/>
                <a:cs typeface="Arial" panose="020B0604020202020204" pitchFamily="34" charset="0"/>
              </a:rPr>
              <a:t>new mobile internet subscribers coming </a:t>
            </a:r>
            <a:r>
              <a:rPr lang="en-GB" sz="1300" dirty="0" smtClean="0">
                <a:solidFill>
                  <a:srgbClr val="193C6D"/>
                </a:solidFill>
                <a:latin typeface="Arial" panose="020B0604020202020204" pitchFamily="34" charset="0"/>
                <a:cs typeface="Arial" panose="020B0604020202020204" pitchFamily="34" charset="0"/>
              </a:rPr>
              <a:t>online </a:t>
            </a:r>
            <a:r>
              <a:rPr lang="en-GB" sz="1300" b="1" dirty="0" smtClean="0">
                <a:solidFill>
                  <a:srgbClr val="193C6D"/>
                </a:solidFill>
                <a:latin typeface="Arial" panose="020B0604020202020204" pitchFamily="34" charset="0"/>
                <a:cs typeface="Arial" panose="020B0604020202020204" pitchFamily="34" charset="0"/>
              </a:rPr>
              <a:t>by 2025</a:t>
            </a:r>
            <a:endParaRPr kumimoji="0" lang="en-GB" sz="1300" b="1" i="0" u="none" strike="noStrike" kern="1200" cap="none" spc="0" normalizeH="0" baseline="0" noProof="0" dirty="0" smtClean="0">
              <a:ln>
                <a:noFill/>
              </a:ln>
              <a:solidFill>
                <a:srgbClr val="193C6D"/>
              </a:solidFill>
              <a:effectLst/>
              <a:uLnTx/>
              <a:uFillTx/>
              <a:latin typeface="Arial" panose="020B0604020202020204" pitchFamily="34" charset="0"/>
              <a:cs typeface="Arial" panose="020B0604020202020204" pitchFamily="34" charset="0"/>
            </a:endParaRPr>
          </a:p>
        </p:txBody>
      </p:sp>
      <p:sp>
        <p:nvSpPr>
          <p:cNvPr id="16" name="Title 3"/>
          <p:cNvSpPr>
            <a:spLocks noGrp="1"/>
          </p:cNvSpPr>
          <p:nvPr>
            <p:ph type="title" idx="4294967295"/>
          </p:nvPr>
        </p:nvSpPr>
        <p:spPr>
          <a:xfrm>
            <a:off x="928688" y="247650"/>
            <a:ext cx="8215312" cy="433388"/>
          </a:xfrm>
          <a:prstGeom prst="rect">
            <a:avLst/>
          </a:prstGeom>
        </p:spPr>
        <p:txBody>
          <a:bodyPr>
            <a:noAutofit/>
          </a:bodyPr>
          <a:lstStyle/>
          <a:p>
            <a:r>
              <a:rPr lang="en-US" sz="1600" b="1" dirty="0" smtClean="0">
                <a:solidFill>
                  <a:srgbClr val="00ACD4"/>
                </a:solidFill>
                <a:latin typeface="Arial" panose="020B0604020202020204" pitchFamily="34" charset="0"/>
                <a:cs typeface="Arial" panose="020B0604020202020204" pitchFamily="34" charset="0"/>
              </a:rPr>
              <a:t>Growth in smartphone adoption </a:t>
            </a:r>
            <a:r>
              <a:rPr lang="en-GB" sz="1600" b="1" dirty="0" smtClean="0">
                <a:solidFill>
                  <a:srgbClr val="00ACD4"/>
                </a:solidFill>
                <a:latin typeface="Arial" panose="020B0604020202020204" pitchFamily="34" charset="0"/>
                <a:cs typeface="Arial" panose="020B0604020202020204" pitchFamily="34" charset="0"/>
              </a:rPr>
              <a:t>unlocks </a:t>
            </a:r>
            <a:r>
              <a:rPr lang="en-GB" sz="1600" b="1" dirty="0">
                <a:solidFill>
                  <a:srgbClr val="00ACD4"/>
                </a:solidFill>
                <a:latin typeface="Arial" panose="020B0604020202020204" pitchFamily="34" charset="0"/>
                <a:cs typeface="Arial" panose="020B0604020202020204" pitchFamily="34" charset="0"/>
              </a:rPr>
              <a:t>access to a broader customer </a:t>
            </a:r>
            <a:r>
              <a:rPr lang="en-GB" sz="1600" b="1" dirty="0" smtClean="0">
                <a:solidFill>
                  <a:srgbClr val="00ACD4"/>
                </a:solidFill>
                <a:latin typeface="Arial" panose="020B0604020202020204" pitchFamily="34" charset="0"/>
                <a:cs typeface="Arial" panose="020B0604020202020204" pitchFamily="34" charset="0"/>
              </a:rPr>
              <a:t>base and </a:t>
            </a:r>
            <a:r>
              <a:rPr lang="en-GB" sz="1600" b="1" dirty="0">
                <a:solidFill>
                  <a:srgbClr val="00ACD4"/>
                </a:solidFill>
                <a:latin typeface="Arial" panose="020B0604020202020204" pitchFamily="34" charset="0"/>
                <a:cs typeface="Arial" panose="020B0604020202020204" pitchFamily="34" charset="0"/>
              </a:rPr>
              <a:t>allow </a:t>
            </a:r>
            <a:r>
              <a:rPr lang="en-GB" sz="1600" b="1" dirty="0" smtClean="0">
                <a:solidFill>
                  <a:srgbClr val="00ACD4"/>
                </a:solidFill>
                <a:latin typeface="Arial" panose="020B0604020202020204" pitchFamily="34" charset="0"/>
                <a:cs typeface="Arial" panose="020B0604020202020204" pitchFamily="34" charset="0"/>
              </a:rPr>
              <a:t>providers </a:t>
            </a:r>
            <a:r>
              <a:rPr lang="en-GB" sz="1600" b="1" dirty="0">
                <a:solidFill>
                  <a:srgbClr val="00ACD4"/>
                </a:solidFill>
                <a:latin typeface="Arial" panose="020B0604020202020204" pitchFamily="34" charset="0"/>
                <a:cs typeface="Arial" panose="020B0604020202020204" pitchFamily="34" charset="0"/>
              </a:rPr>
              <a:t>to offer an enhanced </a:t>
            </a:r>
            <a:r>
              <a:rPr lang="en-GB" sz="1600" b="1" dirty="0" smtClean="0">
                <a:solidFill>
                  <a:srgbClr val="00ACD4"/>
                </a:solidFill>
                <a:latin typeface="Arial" panose="020B0604020202020204" pitchFamily="34" charset="0"/>
                <a:cs typeface="Arial" panose="020B0604020202020204" pitchFamily="34" charset="0"/>
              </a:rPr>
              <a:t>user experience </a:t>
            </a:r>
            <a:r>
              <a:rPr lang="en-GB" sz="1600" b="1" dirty="0">
                <a:solidFill>
                  <a:srgbClr val="00ACD4"/>
                </a:solidFill>
                <a:latin typeface="Arial" panose="020B0604020202020204" pitchFamily="34" charset="0"/>
                <a:cs typeface="Arial" panose="020B0604020202020204" pitchFamily="34" charset="0"/>
              </a:rPr>
              <a:t>and a wider range of </a:t>
            </a:r>
            <a:r>
              <a:rPr lang="en-GB" sz="1600" b="1" dirty="0" smtClean="0">
                <a:solidFill>
                  <a:srgbClr val="00ACD4"/>
                </a:solidFill>
                <a:latin typeface="Arial" panose="020B0604020202020204" pitchFamily="34" charset="0"/>
                <a:cs typeface="Arial" panose="020B0604020202020204" pitchFamily="34" charset="0"/>
              </a:rPr>
              <a:t>products and services. </a:t>
            </a:r>
            <a:endParaRPr lang="en-US" sz="1600" b="1" dirty="0">
              <a:solidFill>
                <a:srgbClr val="00ACD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15552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5865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193C6C"/>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42" name="think-cell Slide" r:id="rId5" imgW="360" imgH="360" progId="TCLayout.ActiveDocument.1">
                  <p:embed/>
                </p:oleObj>
              </mc:Choice>
              <mc:Fallback>
                <p:oleObj name="think-cell Slide" r:id="rId5" imgW="360" imgH="36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8" name="Picture 7"/>
          <p:cNvPicPr>
            <a:picLocks noChangeAspect="1"/>
          </p:cNvPicPr>
          <p:nvPr/>
        </p:nvPicPr>
        <p:blipFill rotWithShape="1">
          <a:blip r:embed="rId7"/>
          <a:srcRect l="48737" t="27983" r="10210" b="26263"/>
          <a:stretch/>
        </p:blipFill>
        <p:spPr>
          <a:xfrm>
            <a:off x="1529854" y="696817"/>
            <a:ext cx="6280994" cy="3937701"/>
          </a:xfrm>
          <a:prstGeom prst="rect">
            <a:avLst/>
          </a:prstGeom>
        </p:spPr>
      </p:pic>
      <p:pic>
        <p:nvPicPr>
          <p:cNvPr id="11" name="Picture 10">
            <a:extLst>
              <a:ext uri="{FF2B5EF4-FFF2-40B4-BE49-F238E27FC236}">
                <a16:creationId xmlns:a16="http://schemas.microsoft.com/office/drawing/2014/main" id="{D1BBFB28-B1AF-C249-BB63-0D06D590D12F}"/>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47323" y="275686"/>
            <a:ext cx="534416" cy="534416"/>
          </a:xfrm>
          <a:prstGeom prst="rect">
            <a:avLst/>
          </a:prstGeom>
        </p:spPr>
      </p:pic>
    </p:spTree>
    <p:extLst>
      <p:ext uri="{BB962C8B-B14F-4D97-AF65-F5344CB8AC3E}">
        <p14:creationId xmlns:p14="http://schemas.microsoft.com/office/powerpoint/2010/main" val="5494007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193C6C"/>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084452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 name="think-cell Slide" r:id="rId5" imgW="360" imgH="360" progId="TCLayout.ActiveDocument.1">
                  <p:embed/>
                </p:oleObj>
              </mc:Choice>
              <mc:Fallback>
                <p:oleObj name="think-cell Slide" r:id="rId5" imgW="360" imgH="36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b="1" dirty="0">
              <a:latin typeface="Arial" panose="020B0604020202020204" pitchFamily="34" charset="0"/>
              <a:cs typeface="Arial" panose="020B0604020202020204" pitchFamily="34" charset="0"/>
              <a:sym typeface="Arial" panose="020B0604020202020204" pitchFamily="34" charset="0"/>
            </a:endParaRPr>
          </a:p>
        </p:txBody>
      </p:sp>
      <p:pic>
        <p:nvPicPr>
          <p:cNvPr id="9" name="Picture 8"/>
          <p:cNvPicPr>
            <a:picLocks noChangeAspect="1"/>
          </p:cNvPicPr>
          <p:nvPr/>
        </p:nvPicPr>
        <p:blipFill rotWithShape="1">
          <a:blip r:embed="rId7"/>
          <a:srcRect l="49072" t="27705" r="10212" b="22074"/>
          <a:stretch/>
        </p:blipFill>
        <p:spPr>
          <a:xfrm>
            <a:off x="1625917" y="542894"/>
            <a:ext cx="6083143" cy="4220551"/>
          </a:xfrm>
          <a:prstGeom prst="rect">
            <a:avLst/>
          </a:prstGeom>
        </p:spPr>
      </p:pic>
      <p:pic>
        <p:nvPicPr>
          <p:cNvPr id="11" name="Picture 10">
            <a:extLst>
              <a:ext uri="{FF2B5EF4-FFF2-40B4-BE49-F238E27FC236}">
                <a16:creationId xmlns:a16="http://schemas.microsoft.com/office/drawing/2014/main" id="{D1BBFB28-B1AF-C249-BB63-0D06D590D12F}"/>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47323" y="275686"/>
            <a:ext cx="534416" cy="534416"/>
          </a:xfrm>
          <a:prstGeom prst="rect">
            <a:avLst/>
          </a:prstGeom>
        </p:spPr>
      </p:pic>
    </p:spTree>
    <p:extLst>
      <p:ext uri="{BB962C8B-B14F-4D97-AF65-F5344CB8AC3E}">
        <p14:creationId xmlns:p14="http://schemas.microsoft.com/office/powerpoint/2010/main" val="57131278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769" name="think-cell Slide" r:id="rId5" imgW="360" imgH="360" progId="TCLayout.ActiveDocument.1">
                  <p:embed/>
                </p:oleObj>
              </mc:Choice>
              <mc:Fallback>
                <p:oleObj name="think-cell Slide" r:id="rId5" imgW="360" imgH="360" progId="TCLayout.ActiveDocument.1">
                  <p:embed/>
                  <p:pic>
                    <p:nvPicPr>
                      <p:cNvPr id="10" name="Object 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600" b="1" dirty="0">
              <a:latin typeface="Arial" panose="020B0604020202020204" pitchFamily="34" charset="0"/>
              <a:cs typeface="Arial" panose="020B0604020202020204" pitchFamily="34" charset="0"/>
              <a:sym typeface="Arial" panose="020B0604020202020204" pitchFamily="34" charset="0"/>
            </a:endParaRPr>
          </a:p>
        </p:txBody>
      </p:sp>
      <p:sp>
        <p:nvSpPr>
          <p:cNvPr id="4" name="Title 3"/>
          <p:cNvSpPr>
            <a:spLocks noGrp="1"/>
          </p:cNvSpPr>
          <p:nvPr>
            <p:ph type="title" idx="4294967295"/>
          </p:nvPr>
        </p:nvSpPr>
        <p:spPr>
          <a:xfrm>
            <a:off x="914400" y="321782"/>
            <a:ext cx="8229600" cy="431800"/>
          </a:xfrm>
          <a:prstGeom prst="rect">
            <a:avLst/>
          </a:prstGeom>
        </p:spPr>
        <p:txBody>
          <a:bodyPr>
            <a:noAutofit/>
          </a:bodyPr>
          <a:lstStyle/>
          <a:p>
            <a:r>
              <a:rPr lang="en-GB" sz="1800" b="1" dirty="0" smtClean="0">
                <a:solidFill>
                  <a:srgbClr val="00ACD4"/>
                </a:solidFill>
                <a:latin typeface="Arial" panose="020B0604020202020204" pitchFamily="34" charset="0"/>
                <a:cs typeface="Arial" panose="020B0604020202020204" pitchFamily="34" charset="0"/>
              </a:rPr>
              <a:t>Host </a:t>
            </a:r>
            <a:r>
              <a:rPr lang="en-GB" sz="1800" b="1" dirty="0">
                <a:solidFill>
                  <a:srgbClr val="00ACD4"/>
                </a:solidFill>
                <a:latin typeface="Arial" panose="020B0604020202020204" pitchFamily="34" charset="0"/>
                <a:cs typeface="Arial" panose="020B0604020202020204" pitchFamily="34" charset="0"/>
              </a:rPr>
              <a:t>to almost half of all mobile money registered accounts </a:t>
            </a:r>
            <a:r>
              <a:rPr lang="en-GB" sz="1800" b="1" dirty="0" smtClean="0">
                <a:solidFill>
                  <a:srgbClr val="00ACD4"/>
                </a:solidFill>
                <a:latin typeface="Arial" panose="020B0604020202020204" pitchFamily="34" charset="0"/>
                <a:cs typeface="Arial" panose="020B0604020202020204" pitchFamily="34" charset="0"/>
              </a:rPr>
              <a:t>globally, </a:t>
            </a:r>
            <a:br>
              <a:rPr lang="en-GB" sz="1800" b="1" dirty="0" smtClean="0">
                <a:solidFill>
                  <a:srgbClr val="00ACD4"/>
                </a:solidFill>
                <a:latin typeface="Arial" panose="020B0604020202020204" pitchFamily="34" charset="0"/>
                <a:cs typeface="Arial" panose="020B0604020202020204" pitchFamily="34" charset="0"/>
              </a:rPr>
            </a:br>
            <a:r>
              <a:rPr lang="en-GB" sz="1800" b="1" dirty="0" smtClean="0">
                <a:solidFill>
                  <a:srgbClr val="00ACD4"/>
                </a:solidFill>
                <a:latin typeface="Arial" panose="020B0604020202020204" pitchFamily="34" charset="0"/>
                <a:cs typeface="Arial" panose="020B0604020202020204" pitchFamily="34" charset="0"/>
              </a:rPr>
              <a:t>Sub-Saharan Africa remains the epicentre of mobile money.</a:t>
            </a:r>
            <a:r>
              <a:rPr lang="en-GB" sz="1800" dirty="0" smtClean="0">
                <a:latin typeface="Arial" panose="020B0604020202020204" pitchFamily="34" charset="0"/>
                <a:cs typeface="Arial" panose="020B0604020202020204" pitchFamily="34" charset="0"/>
              </a:rPr>
              <a:t/>
            </a:r>
            <a:br>
              <a:rPr lang="en-GB" sz="1800" dirty="0" smtClean="0">
                <a:latin typeface="Arial" panose="020B0604020202020204" pitchFamily="34" charset="0"/>
                <a:cs typeface="Arial" panose="020B0604020202020204" pitchFamily="34" charset="0"/>
              </a:rPr>
            </a:br>
            <a:r>
              <a:rPr lang="en-GB" sz="1800" dirty="0" smtClean="0">
                <a:latin typeface="Arial" panose="020B0604020202020204" pitchFamily="34" charset="0"/>
                <a:cs typeface="Arial" panose="020B0604020202020204" pitchFamily="34" charset="0"/>
              </a:rPr>
              <a:t> </a:t>
            </a:r>
            <a:endParaRPr lang="en-US" sz="1800" dirty="0">
              <a:latin typeface="Arial" panose="020B0604020202020204" pitchFamily="34" charset="0"/>
              <a:cs typeface="Arial" panose="020B0604020202020204" pitchFamily="34" charset="0"/>
            </a:endParaRPr>
          </a:p>
        </p:txBody>
      </p:sp>
      <p:pic>
        <p:nvPicPr>
          <p:cNvPr id="7" name="Picture 6"/>
          <p:cNvPicPr>
            <a:picLocks noChangeAspect="1"/>
          </p:cNvPicPr>
          <p:nvPr/>
        </p:nvPicPr>
        <p:blipFill rotWithShape="1">
          <a:blip r:embed="rId7"/>
          <a:srcRect l="7684" t="31070" r="33894" b="18403"/>
          <a:stretch/>
        </p:blipFill>
        <p:spPr>
          <a:xfrm>
            <a:off x="672303" y="1146012"/>
            <a:ext cx="7463512" cy="3630898"/>
          </a:xfrm>
          <a:prstGeom prst="rect">
            <a:avLst/>
          </a:prstGeom>
        </p:spPr>
      </p:pic>
      <p:pic>
        <p:nvPicPr>
          <p:cNvPr id="2" name="Picture 1"/>
          <p:cNvPicPr>
            <a:picLocks noChangeAspect="1"/>
          </p:cNvPicPr>
          <p:nvPr/>
        </p:nvPicPr>
        <p:blipFill>
          <a:blip r:embed="rId8"/>
          <a:stretch>
            <a:fillRect/>
          </a:stretch>
        </p:blipFill>
        <p:spPr>
          <a:xfrm>
            <a:off x="1588168" y="1354466"/>
            <a:ext cx="3962888" cy="317700"/>
          </a:xfrm>
          <a:prstGeom prst="rect">
            <a:avLst/>
          </a:prstGeom>
        </p:spPr>
      </p:pic>
      <p:pic>
        <p:nvPicPr>
          <p:cNvPr id="11" name="Picture 10">
            <a:extLst>
              <a:ext uri="{FF2B5EF4-FFF2-40B4-BE49-F238E27FC236}">
                <a16:creationId xmlns:a16="http://schemas.microsoft.com/office/drawing/2014/main" id="{D1BBFB28-B1AF-C249-BB63-0D06D590D12F}"/>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247323" y="275686"/>
            <a:ext cx="534416" cy="534416"/>
          </a:xfrm>
          <a:prstGeom prst="rect">
            <a:avLst/>
          </a:prstGeom>
        </p:spPr>
      </p:pic>
    </p:spTree>
    <p:extLst>
      <p:ext uri="{BB962C8B-B14F-4D97-AF65-F5344CB8AC3E}">
        <p14:creationId xmlns:p14="http://schemas.microsoft.com/office/powerpoint/2010/main" val="38025690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54477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420" name="think-cell Slide" r:id="rId35" imgW="360" imgH="360" progId="TCLayout.ActiveDocument.1">
                  <p:embed/>
                </p:oleObj>
              </mc:Choice>
              <mc:Fallback>
                <p:oleObj name="think-cell Slide" r:id="rId35" imgW="360" imgH="360" progId="TCLayout.ActiveDocument.1">
                  <p:embed/>
                  <p:pic>
                    <p:nvPicPr>
                      <p:cNvPr id="7" name="Object 6" hidden="1"/>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kumimoji="0" lang="en-GB" sz="1200" u="none" strike="noStrike" kern="1200" cap="none" spc="0" normalizeH="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89" name="Rectangle 88"/>
          <p:cNvSpPr/>
          <p:nvPr/>
        </p:nvSpPr>
        <p:spPr>
          <a:xfrm>
            <a:off x="6665277" y="1191168"/>
            <a:ext cx="2064138" cy="3042396"/>
          </a:xfrm>
          <a:prstGeom prst="rect">
            <a:avLst/>
          </a:prstGeom>
          <a:solidFill>
            <a:srgbClr val="00ACD4">
              <a:alpha val="21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dirty="0"/>
          </a:p>
        </p:txBody>
      </p:sp>
      <p:sp>
        <p:nvSpPr>
          <p:cNvPr id="4" name="Title 3"/>
          <p:cNvSpPr>
            <a:spLocks noGrp="1"/>
          </p:cNvSpPr>
          <p:nvPr>
            <p:ph type="title" idx="4294967295"/>
          </p:nvPr>
        </p:nvSpPr>
        <p:spPr>
          <a:xfrm>
            <a:off x="877561" y="292601"/>
            <a:ext cx="8229600" cy="431800"/>
          </a:xfrm>
          <a:prstGeom prst="rect">
            <a:avLst/>
          </a:prstGeom>
        </p:spPr>
        <p:txBody>
          <a:bodyPr>
            <a:noAutofit/>
          </a:bodyPr>
          <a:lstStyle/>
          <a:p>
            <a:r>
              <a:rPr lang="en-US" sz="1800" b="1" dirty="0" smtClean="0">
                <a:solidFill>
                  <a:srgbClr val="00ACD4"/>
                </a:solidFill>
                <a:latin typeface="Arial" panose="020B0604020202020204" pitchFamily="34" charset="0"/>
                <a:cs typeface="Arial" panose="020B0604020202020204" pitchFamily="34" charset="0"/>
              </a:rPr>
              <a:t>The number of registered customer accounts in Sub-Saharan Africa has reached 396 million, with activity rates of 37% as of December 2018.</a:t>
            </a:r>
            <a:endParaRPr lang="en-US" sz="1800" b="1" dirty="0">
              <a:solidFill>
                <a:srgbClr val="00ACD4"/>
              </a:solidFill>
              <a:latin typeface="Arial" panose="020B0604020202020204" pitchFamily="34" charset="0"/>
              <a:cs typeface="Arial" panose="020B0604020202020204" pitchFamily="34" charset="0"/>
            </a:endParaRPr>
          </a:p>
        </p:txBody>
      </p:sp>
      <p:cxnSp>
        <p:nvCxnSpPr>
          <p:cNvPr id="34" name="Straight Connector 33"/>
          <p:cNvCxnSpPr/>
          <p:nvPr>
            <p:custDataLst>
              <p:tags r:id="rId4"/>
            </p:custDataLst>
          </p:nvPr>
        </p:nvCxnSpPr>
        <p:spPr bwMode="auto">
          <a:xfrm flipV="1">
            <a:off x="4235450" y="3823661"/>
            <a:ext cx="0" cy="508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5"/>
            </p:custDataLst>
          </p:nvPr>
        </p:nvCxnSpPr>
        <p:spPr bwMode="auto">
          <a:xfrm flipV="1">
            <a:off x="4803775" y="3823661"/>
            <a:ext cx="0" cy="508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6"/>
            </p:custDataLst>
          </p:nvPr>
        </p:nvCxnSpPr>
        <p:spPr bwMode="auto">
          <a:xfrm flipV="1">
            <a:off x="3668713" y="3823661"/>
            <a:ext cx="0" cy="508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7"/>
            </p:custDataLst>
          </p:nvPr>
        </p:nvCxnSpPr>
        <p:spPr bwMode="auto">
          <a:xfrm flipV="1">
            <a:off x="3097213" y="3823661"/>
            <a:ext cx="0" cy="508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8"/>
            </p:custDataLst>
          </p:nvPr>
        </p:nvCxnSpPr>
        <p:spPr bwMode="auto">
          <a:xfrm flipV="1">
            <a:off x="2528888" y="3823661"/>
            <a:ext cx="0" cy="508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9"/>
            </p:custDataLst>
          </p:nvPr>
        </p:nvCxnSpPr>
        <p:spPr bwMode="auto">
          <a:xfrm flipV="1">
            <a:off x="1962150" y="3823661"/>
            <a:ext cx="0" cy="508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0"/>
            </p:custDataLst>
          </p:nvPr>
        </p:nvCxnSpPr>
        <p:spPr bwMode="auto">
          <a:xfrm flipV="1">
            <a:off x="1393825" y="3823661"/>
            <a:ext cx="0" cy="508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11"/>
            </p:custDataLst>
          </p:nvPr>
        </p:nvCxnSpPr>
        <p:spPr bwMode="auto">
          <a:xfrm flipV="1">
            <a:off x="5938838" y="3823661"/>
            <a:ext cx="0" cy="508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12"/>
            </p:custDataLst>
          </p:nvPr>
        </p:nvCxnSpPr>
        <p:spPr bwMode="auto">
          <a:xfrm flipV="1">
            <a:off x="5372100" y="3823661"/>
            <a:ext cx="0" cy="508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9" name="Object 8"/>
          <p:cNvGraphicFramePr>
            <a:graphicFrameLocks/>
          </p:cNvGraphicFramePr>
          <p:nvPr>
            <p:custDataLst>
              <p:tags r:id="rId13"/>
            </p:custDataLst>
            <p:extLst>
              <p:ext uri="{D42A27DB-BD31-4B8C-83A1-F6EECF244321}">
                <p14:modId xmlns:p14="http://schemas.microsoft.com/office/powerpoint/2010/main" val="191273034"/>
              </p:ext>
            </p:extLst>
          </p:nvPr>
        </p:nvGraphicFramePr>
        <p:xfrm>
          <a:off x="647701" y="1702761"/>
          <a:ext cx="5398871" cy="2217326"/>
        </p:xfrm>
        <a:graphic>
          <a:graphicData uri="http://schemas.openxmlformats.org/presentationml/2006/ole">
            <mc:AlternateContent xmlns:mc="http://schemas.openxmlformats.org/markup-compatibility/2006">
              <mc:Choice xmlns:v="urn:schemas-microsoft-com:vml" Requires="v">
                <p:oleObj spid="_x0000_s83421" name="Chart" r:id="rId37" imgW="5398871" imgH="2217326" progId="MSGraph.Chart.8">
                  <p:embed followColorScheme="full"/>
                </p:oleObj>
              </mc:Choice>
              <mc:Fallback>
                <p:oleObj name="Chart" r:id="rId37" imgW="5398871" imgH="2217326" progId="MSGraph.Chart.8">
                  <p:embed followColorScheme="full"/>
                  <p:pic>
                    <p:nvPicPr>
                      <p:cNvPr id="0" name=""/>
                      <p:cNvPicPr/>
                      <p:nvPr/>
                    </p:nvPicPr>
                    <p:blipFill>
                      <a:blip r:embed="rId38"/>
                      <a:stretch>
                        <a:fillRect/>
                      </a:stretch>
                    </p:blipFill>
                    <p:spPr>
                      <a:xfrm>
                        <a:off x="647701" y="1702761"/>
                        <a:ext cx="5398871" cy="2217326"/>
                      </a:xfrm>
                      <a:prstGeom prst="rect">
                        <a:avLst/>
                      </a:prstGeom>
                    </p:spPr>
                  </p:pic>
                </p:oleObj>
              </mc:Fallback>
            </mc:AlternateContent>
          </a:graphicData>
        </a:graphic>
      </p:graphicFrame>
      <p:sp>
        <p:nvSpPr>
          <p:cNvPr id="114" name="Text Placeholder 2"/>
          <p:cNvSpPr>
            <a:spLocks noGrp="1"/>
          </p:cNvSpPr>
          <p:nvPr>
            <p:custDataLst>
              <p:tags r:id="rId14"/>
            </p:custDataLst>
          </p:nvPr>
        </p:nvSpPr>
        <p:spPr bwMode="gray">
          <a:xfrm>
            <a:off x="1149350" y="3963361"/>
            <a:ext cx="488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200" dirty="0" smtClean="0">
                <a:latin typeface="Arial" panose="020B0604020202020204" pitchFamily="34" charset="0"/>
                <a:cs typeface="Arial" panose="020B0604020202020204" pitchFamily="34" charset="0"/>
                <a:sym typeface="Arial" panose="020B0604020202020204" pitchFamily="34" charset="0"/>
              </a:rPr>
              <a:t>Dec-10</a:t>
            </a:r>
          </a:p>
        </p:txBody>
      </p:sp>
      <p:sp>
        <p:nvSpPr>
          <p:cNvPr id="121" name="Text Placeholder 2"/>
          <p:cNvSpPr>
            <a:spLocks noGrp="1"/>
          </p:cNvSpPr>
          <p:nvPr>
            <p:custDataLst>
              <p:tags r:id="rId15"/>
            </p:custDataLst>
          </p:nvPr>
        </p:nvSpPr>
        <p:spPr bwMode="gray">
          <a:xfrm>
            <a:off x="5127625" y="3963361"/>
            <a:ext cx="488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200" dirty="0" smtClean="0">
                <a:latin typeface="Arial" panose="020B0604020202020204" pitchFamily="34" charset="0"/>
                <a:cs typeface="Arial" panose="020B0604020202020204" pitchFamily="34" charset="0"/>
                <a:sym typeface="Arial" panose="020B0604020202020204" pitchFamily="34" charset="0"/>
              </a:rPr>
              <a:t>Dec-17</a:t>
            </a:r>
            <a:endParaRPr lang="en-GB" sz="1200" dirty="0">
              <a:latin typeface="Arial" panose="020B0604020202020204" pitchFamily="34" charset="0"/>
              <a:cs typeface="Arial" panose="020B0604020202020204" pitchFamily="34" charset="0"/>
              <a:sym typeface="Arial" panose="020B0604020202020204" pitchFamily="34" charset="0"/>
            </a:endParaRPr>
          </a:p>
        </p:txBody>
      </p:sp>
      <p:sp>
        <p:nvSpPr>
          <p:cNvPr id="120" name="Text Placeholder 2"/>
          <p:cNvSpPr>
            <a:spLocks noGrp="1"/>
          </p:cNvSpPr>
          <p:nvPr>
            <p:custDataLst>
              <p:tags r:id="rId16"/>
            </p:custDataLst>
          </p:nvPr>
        </p:nvSpPr>
        <p:spPr bwMode="gray">
          <a:xfrm>
            <a:off x="4559300" y="3963361"/>
            <a:ext cx="488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200" dirty="0" smtClean="0">
                <a:latin typeface="Arial" panose="020B0604020202020204" pitchFamily="34" charset="0"/>
                <a:cs typeface="Arial" panose="020B0604020202020204" pitchFamily="34" charset="0"/>
                <a:sym typeface="Arial" panose="020B0604020202020204" pitchFamily="34" charset="0"/>
              </a:rPr>
              <a:t>Dec-16</a:t>
            </a:r>
            <a:endParaRPr lang="en-GB" sz="1200" dirty="0">
              <a:latin typeface="Arial" panose="020B0604020202020204" pitchFamily="34" charset="0"/>
              <a:cs typeface="Arial" panose="020B0604020202020204" pitchFamily="34" charset="0"/>
              <a:sym typeface="Arial" panose="020B0604020202020204" pitchFamily="34" charset="0"/>
            </a:endParaRPr>
          </a:p>
        </p:txBody>
      </p:sp>
      <p:sp>
        <p:nvSpPr>
          <p:cNvPr id="64" name="Rectangle 63"/>
          <p:cNvSpPr/>
          <p:nvPr>
            <p:custDataLst>
              <p:tags r:id="rId17"/>
            </p:custDataLst>
          </p:nvPr>
        </p:nvSpPr>
        <p:spPr bwMode="gray">
          <a:xfrm>
            <a:off x="325438" y="3341061"/>
            <a:ext cx="37941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400" rtl="0" eaLnBrk="1" fontAlgn="auto" latinLnBrk="0" hangingPunct="1">
              <a:lnSpc>
                <a:spcPct val="90000"/>
              </a:lnSpc>
              <a:spcBef>
                <a:spcPct val="0"/>
              </a:spcBef>
              <a:spcAft>
                <a:spcPct val="0"/>
              </a:spcAft>
              <a:buClrTx/>
              <a:buSzTx/>
              <a:buFontTx/>
              <a:buNone/>
              <a:tabLst/>
              <a:defRPr/>
            </a:pPr>
            <a:fld id="{1DF9BAD4-9890-4611-9A1A-C77486C3481A}" type="datetime'''1''''00''''''''''''''M'''''''''">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Tx/>
                <a:buNone/>
                <a:tabLst/>
                <a:defRPr/>
              </a:pPr>
              <a:t>100M</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8" name="Text Placeholder 2"/>
          <p:cNvSpPr>
            <a:spLocks noGrp="1"/>
          </p:cNvSpPr>
          <p:nvPr>
            <p:custDataLst>
              <p:tags r:id="rId18"/>
            </p:custDataLst>
          </p:nvPr>
        </p:nvSpPr>
        <p:spPr bwMode="gray">
          <a:xfrm>
            <a:off x="3424238" y="3963361"/>
            <a:ext cx="488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200" dirty="0" smtClean="0">
                <a:latin typeface="Arial" panose="020B0604020202020204" pitchFamily="34" charset="0"/>
                <a:cs typeface="Arial" panose="020B0604020202020204" pitchFamily="34" charset="0"/>
                <a:sym typeface="Arial" panose="020B0604020202020204" pitchFamily="34" charset="0"/>
              </a:rPr>
              <a:t>Dec-14</a:t>
            </a:r>
            <a:endParaRPr lang="en-GB" sz="1200" dirty="0">
              <a:latin typeface="Arial" panose="020B0604020202020204" pitchFamily="34" charset="0"/>
              <a:cs typeface="Arial" panose="020B0604020202020204" pitchFamily="34" charset="0"/>
              <a:sym typeface="Arial" panose="020B0604020202020204" pitchFamily="34" charset="0"/>
            </a:endParaRPr>
          </a:p>
        </p:txBody>
      </p:sp>
      <p:sp>
        <p:nvSpPr>
          <p:cNvPr id="117" name="Text Placeholder 2"/>
          <p:cNvSpPr>
            <a:spLocks noGrp="1"/>
          </p:cNvSpPr>
          <p:nvPr>
            <p:custDataLst>
              <p:tags r:id="rId19"/>
            </p:custDataLst>
          </p:nvPr>
        </p:nvSpPr>
        <p:spPr bwMode="gray">
          <a:xfrm>
            <a:off x="2852738" y="3963361"/>
            <a:ext cx="488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200" dirty="0" smtClean="0">
                <a:latin typeface="Arial" panose="020B0604020202020204" pitchFamily="34" charset="0"/>
                <a:cs typeface="Arial" panose="020B0604020202020204" pitchFamily="34" charset="0"/>
                <a:sym typeface="Arial" panose="020B0604020202020204" pitchFamily="34" charset="0"/>
              </a:rPr>
              <a:t>Dec-13</a:t>
            </a:r>
            <a:endParaRPr lang="en-GB" sz="1200" dirty="0">
              <a:latin typeface="Arial" panose="020B0604020202020204" pitchFamily="34" charset="0"/>
              <a:cs typeface="Arial" panose="020B0604020202020204" pitchFamily="34" charset="0"/>
              <a:sym typeface="Arial" panose="020B0604020202020204" pitchFamily="34" charset="0"/>
            </a:endParaRPr>
          </a:p>
        </p:txBody>
      </p:sp>
      <p:sp>
        <p:nvSpPr>
          <p:cNvPr id="116" name="Text Placeholder 2"/>
          <p:cNvSpPr>
            <a:spLocks noGrp="1"/>
          </p:cNvSpPr>
          <p:nvPr>
            <p:custDataLst>
              <p:tags r:id="rId20"/>
            </p:custDataLst>
          </p:nvPr>
        </p:nvSpPr>
        <p:spPr bwMode="gray">
          <a:xfrm>
            <a:off x="2284413" y="3963361"/>
            <a:ext cx="488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1200" dirty="0" smtClean="0">
                <a:latin typeface="Arial" panose="020B0604020202020204" pitchFamily="34" charset="0"/>
                <a:cs typeface="Arial" panose="020B0604020202020204" pitchFamily="34" charset="0"/>
                <a:sym typeface="Arial" panose="020B0604020202020204" pitchFamily="34" charset="0"/>
              </a:rPr>
              <a:t>Dec-12</a:t>
            </a:r>
            <a:endParaRPr lang="en-GB" sz="1200" dirty="0">
              <a:latin typeface="Arial" panose="020B0604020202020204" pitchFamily="34" charset="0"/>
              <a:cs typeface="Arial" panose="020B0604020202020204" pitchFamily="34" charset="0"/>
              <a:sym typeface="Arial" panose="020B0604020202020204" pitchFamily="34" charset="0"/>
            </a:endParaRPr>
          </a:p>
        </p:txBody>
      </p:sp>
      <p:sp>
        <p:nvSpPr>
          <p:cNvPr id="119" name="Text Placeholder 2"/>
          <p:cNvSpPr>
            <a:spLocks noGrp="1"/>
          </p:cNvSpPr>
          <p:nvPr>
            <p:custDataLst>
              <p:tags r:id="rId21"/>
            </p:custDataLst>
          </p:nvPr>
        </p:nvSpPr>
        <p:spPr bwMode="gray">
          <a:xfrm>
            <a:off x="3990975" y="3963361"/>
            <a:ext cx="488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200" dirty="0" smtClean="0">
                <a:latin typeface="Arial" panose="020B0604020202020204" pitchFamily="34" charset="0"/>
                <a:cs typeface="Arial" panose="020B0604020202020204" pitchFamily="34" charset="0"/>
                <a:sym typeface="Arial" panose="020B0604020202020204" pitchFamily="34" charset="0"/>
              </a:rPr>
              <a:t>Dec-15</a:t>
            </a:r>
            <a:endParaRPr lang="en-GB" sz="1200" dirty="0">
              <a:latin typeface="Arial" panose="020B0604020202020204" pitchFamily="34" charset="0"/>
              <a:cs typeface="Arial" panose="020B0604020202020204" pitchFamily="34" charset="0"/>
              <a:sym typeface="Arial" panose="020B0604020202020204" pitchFamily="34" charset="0"/>
            </a:endParaRPr>
          </a:p>
        </p:txBody>
      </p:sp>
      <p:sp>
        <p:nvSpPr>
          <p:cNvPr id="66" name="Rectangle 65"/>
          <p:cNvSpPr/>
          <p:nvPr>
            <p:custDataLst>
              <p:tags r:id="rId22"/>
            </p:custDataLst>
          </p:nvPr>
        </p:nvSpPr>
        <p:spPr bwMode="gray">
          <a:xfrm>
            <a:off x="325438" y="2937836"/>
            <a:ext cx="37941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400" rtl="0" eaLnBrk="1" fontAlgn="auto" latinLnBrk="0" hangingPunct="1">
              <a:lnSpc>
                <a:spcPct val="90000"/>
              </a:lnSpc>
              <a:spcBef>
                <a:spcPct val="0"/>
              </a:spcBef>
              <a:spcAft>
                <a:spcPct val="0"/>
              </a:spcAft>
              <a:buClrTx/>
              <a:buSzTx/>
              <a:buFontTx/>
              <a:buNone/>
              <a:tabLst/>
              <a:defRPr/>
            </a:pPr>
            <a:fld id="{6B4409B4-B271-4FE6-9893-FBA820633CDD}" type="datetime'''''''''2''''''''''''''''''''''''''''''''''''''0''''0''M'''">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Tx/>
                <a:buNone/>
                <a:tabLst/>
                <a:defRPr/>
              </a:pPr>
              <a:t>200M</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5" name="Text Placeholder 2"/>
          <p:cNvSpPr>
            <a:spLocks noGrp="1"/>
          </p:cNvSpPr>
          <p:nvPr>
            <p:custDataLst>
              <p:tags r:id="rId23"/>
            </p:custDataLst>
          </p:nvPr>
        </p:nvSpPr>
        <p:spPr bwMode="gray">
          <a:xfrm>
            <a:off x="1724025" y="3963361"/>
            <a:ext cx="4778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200" dirty="0" smtClean="0">
                <a:latin typeface="Arial" panose="020B0604020202020204" pitchFamily="34" charset="0"/>
                <a:cs typeface="Arial" panose="020B0604020202020204" pitchFamily="34" charset="0"/>
                <a:sym typeface="Arial" panose="020B0604020202020204" pitchFamily="34" charset="0"/>
              </a:rPr>
              <a:t>Dec-11</a:t>
            </a:r>
            <a:endParaRPr lang="en-GB" sz="1200" dirty="0">
              <a:latin typeface="Arial" panose="020B0604020202020204" pitchFamily="34" charset="0"/>
              <a:cs typeface="Arial" panose="020B0604020202020204" pitchFamily="34" charset="0"/>
              <a:sym typeface="Arial" panose="020B0604020202020204" pitchFamily="34" charset="0"/>
            </a:endParaRPr>
          </a:p>
        </p:txBody>
      </p:sp>
      <p:sp>
        <p:nvSpPr>
          <p:cNvPr id="70" name="Rectangle 69"/>
          <p:cNvSpPr/>
          <p:nvPr>
            <p:custDataLst>
              <p:tags r:id="rId24"/>
            </p:custDataLst>
          </p:nvPr>
        </p:nvSpPr>
        <p:spPr bwMode="gray">
          <a:xfrm>
            <a:off x="325438" y="2134561"/>
            <a:ext cx="37941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400" rtl="0" eaLnBrk="1" fontAlgn="auto" latinLnBrk="0" hangingPunct="1">
              <a:lnSpc>
                <a:spcPct val="90000"/>
              </a:lnSpc>
              <a:spcBef>
                <a:spcPct val="0"/>
              </a:spcBef>
              <a:spcAft>
                <a:spcPct val="0"/>
              </a:spcAft>
              <a:buClrTx/>
              <a:buSzTx/>
              <a:buFontTx/>
              <a:buNone/>
              <a:tabLst/>
              <a:defRPr/>
            </a:pPr>
            <a:fld id="{6B1F67A2-DD90-417D-9FE6-5B2DE6E54091}" type="datetime'''40''''''''''''''''''0''''''''''''''''''''''''''''''''M'''''">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Tx/>
                <a:buNone/>
                <a:tabLst/>
                <a:defRPr/>
              </a:pPr>
              <a:t>400M</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Rectangle 67"/>
          <p:cNvSpPr/>
          <p:nvPr>
            <p:custDataLst>
              <p:tags r:id="rId25"/>
            </p:custDataLst>
          </p:nvPr>
        </p:nvSpPr>
        <p:spPr bwMode="gray">
          <a:xfrm>
            <a:off x="325438" y="2537786"/>
            <a:ext cx="37941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400" rtl="0" eaLnBrk="1" fontAlgn="auto" latinLnBrk="0" hangingPunct="1">
              <a:lnSpc>
                <a:spcPct val="90000"/>
              </a:lnSpc>
              <a:spcBef>
                <a:spcPct val="0"/>
              </a:spcBef>
              <a:spcAft>
                <a:spcPct val="0"/>
              </a:spcAft>
              <a:buClrTx/>
              <a:buSzTx/>
              <a:buFontTx/>
              <a:buNone/>
              <a:tabLst/>
              <a:defRPr/>
            </a:pPr>
            <a:fld id="{FCF09D39-5FAC-424F-B89F-174EDF28E407}" type="datetime'''''''''''''3''''''''0''''0''''''''''''''''''''''''M'''''">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Tx/>
                <a:buNone/>
                <a:tabLst/>
                <a:defRPr/>
              </a:pPr>
              <a:t>300M</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8" name="Rectangle 87"/>
          <p:cNvSpPr/>
          <p:nvPr>
            <p:custDataLst>
              <p:tags r:id="rId26"/>
            </p:custDataLst>
          </p:nvPr>
        </p:nvSpPr>
        <p:spPr bwMode="gray">
          <a:xfrm>
            <a:off x="325438" y="1734511"/>
            <a:ext cx="37941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400" rtl="0" eaLnBrk="1" fontAlgn="auto" latinLnBrk="0" hangingPunct="1">
              <a:lnSpc>
                <a:spcPct val="90000"/>
              </a:lnSpc>
              <a:spcBef>
                <a:spcPct val="0"/>
              </a:spcBef>
              <a:spcAft>
                <a:spcPct val="0"/>
              </a:spcAft>
              <a:buClrTx/>
              <a:buSzTx/>
              <a:buFontTx/>
              <a:buNone/>
              <a:tabLst/>
              <a:defRPr/>
            </a:pPr>
            <a:fld id="{D09576D6-0919-4655-936B-DEE7570BE831}" type="datetime'''''''5''''''''''''''''''0''''''''''''''''''''''''''0''''M'">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Tx/>
                <a:buNone/>
                <a:tabLst/>
                <a:defRPr/>
              </a:pPr>
              <a:t>500M</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2" name="Rectangle 61"/>
          <p:cNvSpPr/>
          <p:nvPr>
            <p:custDataLst>
              <p:tags r:id="rId27"/>
            </p:custDataLst>
          </p:nvPr>
        </p:nvSpPr>
        <p:spPr bwMode="gray">
          <a:xfrm>
            <a:off x="493713" y="3741111"/>
            <a:ext cx="211138"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400" rtl="0" eaLnBrk="1" fontAlgn="auto" latinLnBrk="0" hangingPunct="1">
              <a:lnSpc>
                <a:spcPct val="90000"/>
              </a:lnSpc>
              <a:spcBef>
                <a:spcPct val="0"/>
              </a:spcBef>
              <a:spcAft>
                <a:spcPct val="0"/>
              </a:spcAft>
              <a:buClrTx/>
              <a:buSzTx/>
              <a:buFontTx/>
              <a:buNone/>
              <a:tabLst/>
              <a:defRPr/>
            </a:pPr>
            <a:fld id="{D5234EF5-0837-4D28-8F92-48449301F4C1}" type="datetime'''''0M'''''''''''">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Tx/>
                <a:buNone/>
                <a:tabLst/>
                <a:defRPr/>
              </a:pPr>
              <a:t>0M</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2" name="Text Placeholder 2"/>
          <p:cNvSpPr>
            <a:spLocks noGrp="1"/>
          </p:cNvSpPr>
          <p:nvPr>
            <p:custDataLst>
              <p:tags r:id="rId28"/>
            </p:custDataLst>
          </p:nvPr>
        </p:nvSpPr>
        <p:spPr bwMode="gray">
          <a:xfrm>
            <a:off x="5694363" y="3963361"/>
            <a:ext cx="488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200" dirty="0" smtClean="0">
                <a:latin typeface="Arial" panose="020B0604020202020204" pitchFamily="34" charset="0"/>
                <a:cs typeface="Arial" panose="020B0604020202020204" pitchFamily="34" charset="0"/>
                <a:sym typeface="Arial" panose="020B0604020202020204" pitchFamily="34" charset="0"/>
              </a:rPr>
              <a:t>Dec-18</a:t>
            </a:r>
            <a:endParaRPr lang="en-GB" sz="1200" dirty="0">
              <a:latin typeface="Arial" panose="020B0604020202020204" pitchFamily="34" charset="0"/>
              <a:cs typeface="Arial" panose="020B0604020202020204" pitchFamily="34" charset="0"/>
              <a:sym typeface="Arial" panose="020B0604020202020204" pitchFamily="34" charset="0"/>
            </a:endParaRPr>
          </a:p>
        </p:txBody>
      </p:sp>
      <p:cxnSp>
        <p:nvCxnSpPr>
          <p:cNvPr id="98" name="Straight Connector 97"/>
          <p:cNvCxnSpPr/>
          <p:nvPr>
            <p:custDataLst>
              <p:tags r:id="rId29"/>
            </p:custDataLst>
          </p:nvPr>
        </p:nvCxnSpPr>
        <p:spPr bwMode="gray">
          <a:xfrm>
            <a:off x="581025" y="4285624"/>
            <a:ext cx="219075" cy="0"/>
          </a:xfrm>
          <a:prstGeom prst="line">
            <a:avLst/>
          </a:prstGeom>
          <a:ln w="19050" cap="rnd" cmpd="sng" algn="ctr">
            <a:solidFill>
              <a:srgbClr val="00568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custDataLst>
              <p:tags r:id="rId30"/>
            </p:custDataLst>
          </p:nvPr>
        </p:nvCxnSpPr>
        <p:spPr bwMode="gray">
          <a:xfrm>
            <a:off x="2182813" y="4285624"/>
            <a:ext cx="219075" cy="0"/>
          </a:xfrm>
          <a:prstGeom prst="line">
            <a:avLst/>
          </a:prstGeom>
          <a:ln w="19050" cap="rnd" cmpd="sng" algn="ctr">
            <a:solidFill>
              <a:srgbClr val="00ACD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Rectangle 1"/>
          <p:cNvSpPr/>
          <p:nvPr>
            <p:custDataLst>
              <p:tags r:id="rId31"/>
            </p:custDataLst>
          </p:nvPr>
        </p:nvSpPr>
        <p:spPr bwMode="auto">
          <a:xfrm>
            <a:off x="850900" y="4214186"/>
            <a:ext cx="1230313"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fld id="{835DAE97-CCC2-4E9F-BF9C-6F092AE48063}" type="datetime'R''eg''''''is''t''''e''''''r''''''e''d ''c''ust''o''m''ers'">
              <a:rPr kumimoji="0" lang="en-GB" alt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Tx/>
                <a:buNone/>
                <a:tabLst/>
                <a:defRPr/>
              </a:pPr>
              <a:t>Registered customers</a:t>
            </a:fld>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Rectangle 5"/>
          <p:cNvSpPr/>
          <p:nvPr>
            <p:custDataLst>
              <p:tags r:id="rId32"/>
            </p:custDataLst>
          </p:nvPr>
        </p:nvSpPr>
        <p:spPr bwMode="auto">
          <a:xfrm>
            <a:off x="2452688" y="4214186"/>
            <a:ext cx="998538"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Active customers</a:t>
            </a:r>
            <a:r>
              <a:rPr kumimoji="0" lang="en-GB" altLang="en-US" sz="1000" b="0" i="0" u="none" strike="noStrike" kern="1200" cap="none" spc="0" normalizeH="0" noProof="0" dirty="0" smtClean="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6" name="TextBox 105"/>
          <p:cNvSpPr txBox="1"/>
          <p:nvPr/>
        </p:nvSpPr>
        <p:spPr>
          <a:xfrm>
            <a:off x="205542" y="1089938"/>
            <a:ext cx="553228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smtClean="0">
                <a:ln>
                  <a:noFill/>
                </a:ln>
                <a:solidFill>
                  <a:srgbClr val="00ACD4"/>
                </a:solidFill>
                <a:effectLst/>
                <a:uLnTx/>
                <a:uFillTx/>
                <a:latin typeface="Arial" panose="020B0604020202020204" pitchFamily="34" charset="0"/>
                <a:cs typeface="Arial" panose="020B0604020202020204" pitchFamily="34" charset="0"/>
              </a:rPr>
              <a:t>Number of registered and active mobile money customers – </a:t>
            </a:r>
            <a:r>
              <a:rPr lang="en-GB" sz="1100" b="1" dirty="0" smtClean="0">
                <a:solidFill>
                  <a:srgbClr val="00ACD4"/>
                </a:solidFill>
                <a:latin typeface="Arial" panose="020B0604020202020204" pitchFamily="34" charset="0"/>
                <a:cs typeface="Arial" panose="020B0604020202020204" pitchFamily="34" charset="0"/>
              </a:rPr>
              <a:t>Sub Saharan Africa</a:t>
            </a:r>
            <a:endParaRPr kumimoji="0" lang="en-GB" sz="1100" b="1" i="0" u="none" strike="noStrike" kern="1200" cap="none" spc="0" normalizeH="0" baseline="0" noProof="0" dirty="0">
              <a:ln>
                <a:noFill/>
              </a:ln>
              <a:solidFill>
                <a:srgbClr val="00ACD4"/>
              </a:solidFill>
              <a:effectLst/>
              <a:uLnTx/>
              <a:uFillTx/>
              <a:latin typeface="Arial" panose="020B0604020202020204" pitchFamily="34" charset="0"/>
              <a:cs typeface="Arial" panose="020B0604020202020204" pitchFamily="34" charset="0"/>
            </a:endParaRPr>
          </a:p>
        </p:txBody>
      </p:sp>
      <p:sp>
        <p:nvSpPr>
          <p:cNvPr id="12" name="Isosceles Triangle 11"/>
          <p:cNvSpPr/>
          <p:nvPr/>
        </p:nvSpPr>
        <p:spPr>
          <a:xfrm>
            <a:off x="3567495" y="4261811"/>
            <a:ext cx="96139" cy="81280"/>
          </a:xfrm>
          <a:prstGeom prst="triangle">
            <a:avLst/>
          </a:prstGeom>
          <a:solidFill>
            <a:srgbClr val="FFFFFF"/>
          </a:solidFill>
          <a:ln>
            <a:solidFill>
              <a:srgbClr val="00A6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p:cNvSpPr txBox="1"/>
          <p:nvPr/>
        </p:nvSpPr>
        <p:spPr>
          <a:xfrm>
            <a:off x="6685730" y="2260866"/>
            <a:ext cx="2112168" cy="1938992"/>
          </a:xfrm>
          <a:prstGeom prst="rect">
            <a:avLst/>
          </a:prstGeom>
          <a:noFill/>
        </p:spPr>
        <p:txBody>
          <a:bodyPr wrap="square" rtlCol="0">
            <a:spAutoFit/>
          </a:bodyPr>
          <a:lstStyle/>
          <a:p>
            <a:pPr algn="ctr"/>
            <a:r>
              <a:rPr lang="en-GB" sz="1200" b="1" dirty="0" smtClean="0">
                <a:solidFill>
                  <a:srgbClr val="193C6C"/>
                </a:solidFill>
                <a:latin typeface="Arial" panose="020B0604020202020204" pitchFamily="34" charset="0"/>
                <a:cs typeface="Arial" panose="020B0604020202020204" pitchFamily="34" charset="0"/>
              </a:rPr>
              <a:t>Although regional activity rates have only slightly increased, 57 out of 132 services in the region are achieving activity rates higher than the regional average, with 27 providers driving impressive activity rates of well above 50 per cent.</a:t>
            </a:r>
            <a:endParaRPr lang="en-GB" sz="1200" b="1" dirty="0">
              <a:solidFill>
                <a:srgbClr val="193C6C"/>
              </a:solidFill>
              <a:latin typeface="Arial" panose="020B0604020202020204" pitchFamily="34" charset="0"/>
              <a:cs typeface="Arial" panose="020B0604020202020204" pitchFamily="34" charset="0"/>
            </a:endParaRPr>
          </a:p>
        </p:txBody>
      </p:sp>
      <p:sp>
        <p:nvSpPr>
          <p:cNvPr id="14" name="TextBox 13"/>
          <p:cNvSpPr txBox="1"/>
          <p:nvPr/>
        </p:nvSpPr>
        <p:spPr>
          <a:xfrm>
            <a:off x="3716909" y="4178185"/>
            <a:ext cx="1655191" cy="246221"/>
          </a:xfrm>
          <a:prstGeom prst="rect">
            <a:avLst/>
          </a:prstGeom>
          <a:noFill/>
        </p:spPr>
        <p:txBody>
          <a:bodyPr wrap="square" rtlCol="0">
            <a:spAutoFit/>
          </a:bodyPr>
          <a:lstStyle/>
          <a:p>
            <a:r>
              <a:rPr lang="en-GB" sz="1000" dirty="0" smtClean="0">
                <a:latin typeface="Arial" panose="020B0604020202020204" pitchFamily="34" charset="0"/>
                <a:cs typeface="Arial" panose="020B0604020202020204" pitchFamily="34" charset="0"/>
              </a:rPr>
              <a:t>Activity rates</a:t>
            </a:r>
            <a:endParaRPr lang="en-GB" sz="1000" dirty="0">
              <a:latin typeface="Arial" panose="020B0604020202020204" pitchFamily="34" charset="0"/>
              <a:cs typeface="Arial" panose="020B0604020202020204" pitchFamily="34" charset="0"/>
            </a:endParaRPr>
          </a:p>
        </p:txBody>
      </p:sp>
      <p:sp>
        <p:nvSpPr>
          <p:cNvPr id="75" name="Isosceles Triangle 74"/>
          <p:cNvSpPr/>
          <p:nvPr/>
        </p:nvSpPr>
        <p:spPr>
          <a:xfrm>
            <a:off x="4760531" y="1373048"/>
            <a:ext cx="96139" cy="81280"/>
          </a:xfrm>
          <a:prstGeom prst="triangle">
            <a:avLst/>
          </a:prstGeom>
          <a:solidFill>
            <a:srgbClr val="FFFFFF"/>
          </a:solidFill>
          <a:ln>
            <a:solidFill>
              <a:srgbClr val="00A6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Isosceles Triangle 76"/>
          <p:cNvSpPr/>
          <p:nvPr/>
        </p:nvSpPr>
        <p:spPr>
          <a:xfrm>
            <a:off x="5827775" y="1373048"/>
            <a:ext cx="96139" cy="81280"/>
          </a:xfrm>
          <a:prstGeom prst="triangle">
            <a:avLst/>
          </a:prstGeom>
          <a:solidFill>
            <a:srgbClr val="FFFFFF"/>
          </a:solidFill>
          <a:ln>
            <a:solidFill>
              <a:srgbClr val="00A6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p:cNvSpPr txBox="1"/>
          <p:nvPr/>
        </p:nvSpPr>
        <p:spPr>
          <a:xfrm>
            <a:off x="1186815" y="1434960"/>
            <a:ext cx="705580" cy="261610"/>
          </a:xfrm>
          <a:prstGeom prst="rect">
            <a:avLst/>
          </a:prstGeom>
          <a:noFill/>
        </p:spPr>
        <p:txBody>
          <a:bodyPr wrap="square" rtlCol="0">
            <a:spAutoFit/>
          </a:bodyPr>
          <a:lstStyle/>
          <a:p>
            <a:r>
              <a:rPr lang="en-GB" sz="1050" dirty="0" smtClean="0">
                <a:latin typeface="Arial" panose="020B0604020202020204" pitchFamily="34" charset="0"/>
                <a:cs typeface="Arial" panose="020B0604020202020204" pitchFamily="34" charset="0"/>
              </a:rPr>
              <a:t>34%</a:t>
            </a:r>
            <a:endParaRPr lang="en-GB" sz="1050" dirty="0">
              <a:latin typeface="Arial" panose="020B0604020202020204" pitchFamily="34" charset="0"/>
              <a:cs typeface="Arial" panose="020B0604020202020204" pitchFamily="34" charset="0"/>
            </a:endParaRPr>
          </a:p>
        </p:txBody>
      </p:sp>
      <p:sp>
        <p:nvSpPr>
          <p:cNvPr id="78" name="TextBox 77"/>
          <p:cNvSpPr txBox="1"/>
          <p:nvPr/>
        </p:nvSpPr>
        <p:spPr>
          <a:xfrm>
            <a:off x="2308609" y="1434960"/>
            <a:ext cx="705580" cy="261610"/>
          </a:xfrm>
          <a:prstGeom prst="rect">
            <a:avLst/>
          </a:prstGeom>
          <a:noFill/>
        </p:spPr>
        <p:txBody>
          <a:bodyPr wrap="square" rtlCol="0">
            <a:spAutoFit/>
          </a:bodyPr>
          <a:lstStyle/>
          <a:p>
            <a:r>
              <a:rPr lang="en-GB" sz="1050" dirty="0" smtClean="0">
                <a:latin typeface="Arial" panose="020B0604020202020204" pitchFamily="34" charset="0"/>
                <a:cs typeface="Arial" panose="020B0604020202020204" pitchFamily="34" charset="0"/>
              </a:rPr>
              <a:t>37%</a:t>
            </a:r>
            <a:endParaRPr lang="en-GB" sz="1050" dirty="0">
              <a:latin typeface="Arial" panose="020B0604020202020204" pitchFamily="34" charset="0"/>
              <a:cs typeface="Arial" panose="020B0604020202020204" pitchFamily="34" charset="0"/>
            </a:endParaRPr>
          </a:p>
        </p:txBody>
      </p:sp>
      <p:sp>
        <p:nvSpPr>
          <p:cNvPr id="79" name="TextBox 78"/>
          <p:cNvSpPr txBox="1"/>
          <p:nvPr/>
        </p:nvSpPr>
        <p:spPr>
          <a:xfrm>
            <a:off x="3429511" y="1434960"/>
            <a:ext cx="705580" cy="261610"/>
          </a:xfrm>
          <a:prstGeom prst="rect">
            <a:avLst/>
          </a:prstGeom>
          <a:noFill/>
        </p:spPr>
        <p:txBody>
          <a:bodyPr wrap="square" rtlCol="0">
            <a:spAutoFit/>
          </a:bodyPr>
          <a:lstStyle/>
          <a:p>
            <a:r>
              <a:rPr lang="en-GB" sz="1050" dirty="0" smtClean="0">
                <a:latin typeface="Arial" panose="020B0604020202020204" pitchFamily="34" charset="0"/>
                <a:cs typeface="Arial" panose="020B0604020202020204" pitchFamily="34" charset="0"/>
              </a:rPr>
              <a:t>38%</a:t>
            </a:r>
            <a:endParaRPr lang="en-GB" sz="1050" dirty="0">
              <a:latin typeface="Arial" panose="020B0604020202020204" pitchFamily="34" charset="0"/>
              <a:cs typeface="Arial" panose="020B0604020202020204" pitchFamily="34" charset="0"/>
            </a:endParaRPr>
          </a:p>
        </p:txBody>
      </p:sp>
      <p:sp>
        <p:nvSpPr>
          <p:cNvPr id="80" name="TextBox 79"/>
          <p:cNvSpPr txBox="1"/>
          <p:nvPr/>
        </p:nvSpPr>
        <p:spPr>
          <a:xfrm>
            <a:off x="4622043" y="1434960"/>
            <a:ext cx="705580" cy="261610"/>
          </a:xfrm>
          <a:prstGeom prst="rect">
            <a:avLst/>
          </a:prstGeom>
          <a:noFill/>
        </p:spPr>
        <p:txBody>
          <a:bodyPr wrap="square" rtlCol="0">
            <a:spAutoFit/>
          </a:bodyPr>
          <a:lstStyle/>
          <a:p>
            <a:r>
              <a:rPr lang="en-GB" sz="1050" dirty="0" smtClean="0">
                <a:latin typeface="Arial" panose="020B0604020202020204" pitchFamily="34" charset="0"/>
                <a:cs typeface="Arial" panose="020B0604020202020204" pitchFamily="34" charset="0"/>
              </a:rPr>
              <a:t>36%</a:t>
            </a:r>
            <a:endParaRPr lang="en-GB" sz="1050" dirty="0">
              <a:latin typeface="Arial" panose="020B0604020202020204" pitchFamily="34" charset="0"/>
              <a:cs typeface="Arial" panose="020B0604020202020204" pitchFamily="34" charset="0"/>
            </a:endParaRPr>
          </a:p>
        </p:txBody>
      </p:sp>
      <p:sp>
        <p:nvSpPr>
          <p:cNvPr id="81" name="TextBox 80"/>
          <p:cNvSpPr txBox="1"/>
          <p:nvPr/>
        </p:nvSpPr>
        <p:spPr>
          <a:xfrm>
            <a:off x="5700396" y="1434960"/>
            <a:ext cx="705580" cy="261610"/>
          </a:xfrm>
          <a:prstGeom prst="rect">
            <a:avLst/>
          </a:prstGeom>
          <a:noFill/>
        </p:spPr>
        <p:txBody>
          <a:bodyPr wrap="square" rtlCol="0">
            <a:spAutoFit/>
          </a:bodyPr>
          <a:lstStyle/>
          <a:p>
            <a:r>
              <a:rPr lang="en-GB" sz="1050" dirty="0" smtClean="0">
                <a:latin typeface="Arial" panose="020B0604020202020204" pitchFamily="34" charset="0"/>
                <a:cs typeface="Arial" panose="020B0604020202020204" pitchFamily="34" charset="0"/>
              </a:rPr>
              <a:t>37%</a:t>
            </a:r>
            <a:endParaRPr lang="en-GB" sz="1050" dirty="0">
              <a:latin typeface="Arial" panose="020B0604020202020204" pitchFamily="34" charset="0"/>
              <a:cs typeface="Arial" panose="020B0604020202020204" pitchFamily="34" charset="0"/>
            </a:endParaRPr>
          </a:p>
        </p:txBody>
      </p:sp>
      <p:pic>
        <p:nvPicPr>
          <p:cNvPr id="16" name="Picture 15"/>
          <p:cNvPicPr>
            <a:picLocks noChangeAspect="1"/>
          </p:cNvPicPr>
          <p:nvPr/>
        </p:nvPicPr>
        <p:blipFill>
          <a:blip r:embed="rId39" cstate="hqprint">
            <a:extLst>
              <a:ext uri="{28A0092B-C50C-407E-A947-70E740481C1C}">
                <a14:useLocalDpi xmlns:a14="http://schemas.microsoft.com/office/drawing/2010/main" val="0"/>
              </a:ext>
            </a:extLst>
          </a:blip>
          <a:stretch>
            <a:fillRect/>
          </a:stretch>
        </p:blipFill>
        <p:spPr>
          <a:xfrm>
            <a:off x="7161684" y="1163919"/>
            <a:ext cx="1169027" cy="1169027"/>
          </a:xfrm>
          <a:prstGeom prst="rect">
            <a:avLst/>
          </a:prstGeom>
        </p:spPr>
      </p:pic>
      <p:sp>
        <p:nvSpPr>
          <p:cNvPr id="84" name="Isosceles Triangle 83"/>
          <p:cNvSpPr/>
          <p:nvPr/>
        </p:nvSpPr>
        <p:spPr>
          <a:xfrm>
            <a:off x="1332624" y="1379208"/>
            <a:ext cx="96139" cy="81280"/>
          </a:xfrm>
          <a:prstGeom prst="triangle">
            <a:avLst/>
          </a:prstGeom>
          <a:solidFill>
            <a:srgbClr val="FFFFFF"/>
          </a:solidFill>
          <a:ln>
            <a:solidFill>
              <a:srgbClr val="00A6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Isosceles Triangle 84"/>
          <p:cNvSpPr/>
          <p:nvPr/>
        </p:nvSpPr>
        <p:spPr>
          <a:xfrm>
            <a:off x="2447199" y="1374543"/>
            <a:ext cx="96139" cy="81280"/>
          </a:xfrm>
          <a:prstGeom prst="triangle">
            <a:avLst/>
          </a:prstGeom>
          <a:solidFill>
            <a:srgbClr val="FFFFFF"/>
          </a:solidFill>
          <a:ln>
            <a:solidFill>
              <a:srgbClr val="00A6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Isosceles Triangle 85"/>
          <p:cNvSpPr/>
          <p:nvPr/>
        </p:nvSpPr>
        <p:spPr>
          <a:xfrm>
            <a:off x="3585846" y="1379208"/>
            <a:ext cx="96139" cy="81280"/>
          </a:xfrm>
          <a:prstGeom prst="triangle">
            <a:avLst/>
          </a:prstGeom>
          <a:solidFill>
            <a:srgbClr val="FFFFFF"/>
          </a:solidFill>
          <a:ln>
            <a:solidFill>
              <a:srgbClr val="00A6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6" name="Picture 55">
            <a:extLst>
              <a:ext uri="{FF2B5EF4-FFF2-40B4-BE49-F238E27FC236}">
                <a16:creationId xmlns:a16="http://schemas.microsoft.com/office/drawing/2014/main" id="{D1BBFB28-B1AF-C249-BB63-0D06D590D12F}"/>
              </a:ext>
            </a:extLst>
          </p:cNvPr>
          <p:cNvPicPr>
            <a:picLocks noChangeAspect="1"/>
          </p:cNvPicPr>
          <p:nvPr/>
        </p:nvPicPr>
        <p:blipFill>
          <a:blip r:embed="rId40" cstate="hqprint">
            <a:extLst>
              <a:ext uri="{28A0092B-C50C-407E-A947-70E740481C1C}">
                <a14:useLocalDpi xmlns:a14="http://schemas.microsoft.com/office/drawing/2010/main" val="0"/>
              </a:ext>
            </a:extLst>
          </a:blip>
          <a:stretch>
            <a:fillRect/>
          </a:stretch>
        </p:blipFill>
        <p:spPr>
          <a:xfrm>
            <a:off x="247323" y="275686"/>
            <a:ext cx="534416" cy="534416"/>
          </a:xfrm>
          <a:prstGeom prst="rect">
            <a:avLst/>
          </a:prstGeom>
        </p:spPr>
      </p:pic>
    </p:spTree>
    <p:extLst>
      <p:ext uri="{BB962C8B-B14F-4D97-AF65-F5344CB8AC3E}">
        <p14:creationId xmlns:p14="http://schemas.microsoft.com/office/powerpoint/2010/main" val="20721618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p:cNvPicPr>
            <a:picLocks noChangeAspect="1"/>
          </p:cNvPicPr>
          <p:nvPr/>
        </p:nvPicPr>
        <p:blipFill rotWithShape="1">
          <a:blip r:embed="rId37" cstate="hqprint">
            <a:extLst>
              <a:ext uri="{28A0092B-C50C-407E-A947-70E740481C1C}">
                <a14:useLocalDpi xmlns:a14="http://schemas.microsoft.com/office/drawing/2010/main" val="0"/>
              </a:ext>
            </a:extLst>
          </a:blip>
          <a:srcRect l="1" r="808" b="3187"/>
          <a:stretch/>
        </p:blipFill>
        <p:spPr>
          <a:xfrm>
            <a:off x="4774075" y="1392478"/>
            <a:ext cx="4312506" cy="2614410"/>
          </a:xfrm>
          <a:prstGeom prst="rect">
            <a:avLst/>
          </a:prstGeom>
        </p:spPr>
      </p:pic>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58161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897" name="think-cell Slide" r:id="rId38" imgW="360" imgH="360" progId="TCLayout.ActiveDocument.1">
                  <p:embed/>
                </p:oleObj>
              </mc:Choice>
              <mc:Fallback>
                <p:oleObj name="think-cell Slide" r:id="rId38" imgW="360" imgH="360" progId="TCLayout.ActiveDocument.1">
                  <p:embed/>
                  <p:pic>
                    <p:nvPicPr>
                      <p:cNvPr id="7" name="Object 6" hidden="1"/>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0" lang="en-GB" sz="1200" u="none" strike="noStrike" kern="1200" cap="none" spc="0" normalizeH="0" noProof="0" dirty="0">
              <a:ln>
                <a:noFill/>
              </a:ln>
              <a:solidFill>
                <a:srgbClr val="FFFFFF"/>
              </a:solidFill>
              <a:effectLst/>
              <a:uLnTx/>
              <a:uFillTx/>
              <a:sym typeface="+mn-lt"/>
            </a:endParaRPr>
          </a:p>
        </p:txBody>
      </p:sp>
      <p:sp>
        <p:nvSpPr>
          <p:cNvPr id="4" name="Title 3"/>
          <p:cNvSpPr>
            <a:spLocks noGrp="1"/>
          </p:cNvSpPr>
          <p:nvPr>
            <p:ph type="title" idx="4294967295"/>
          </p:nvPr>
        </p:nvSpPr>
        <p:spPr>
          <a:xfrm>
            <a:off x="811456" y="289621"/>
            <a:ext cx="8004297" cy="431800"/>
          </a:xfrm>
          <a:prstGeom prst="rect">
            <a:avLst/>
          </a:prstGeom>
        </p:spPr>
        <p:txBody>
          <a:bodyPr>
            <a:noAutofit/>
          </a:bodyPr>
          <a:lstStyle/>
          <a:p>
            <a:r>
              <a:rPr lang="en-GB" sz="1800" b="1" dirty="0" smtClean="0">
                <a:solidFill>
                  <a:srgbClr val="00ACD4"/>
                </a:solidFill>
                <a:latin typeface="Arial" panose="020B0604020202020204" pitchFamily="34" charset="0"/>
                <a:cs typeface="Arial" panose="020B0604020202020204" pitchFamily="34" charset="0"/>
              </a:rPr>
              <a:t>Sub-Saharan Africa </a:t>
            </a:r>
            <a:r>
              <a:rPr lang="en-GB" sz="1800" b="1" dirty="0">
                <a:solidFill>
                  <a:srgbClr val="00ACD4"/>
                </a:solidFill>
                <a:latin typeface="Arial" panose="020B0604020202020204" pitchFamily="34" charset="0"/>
                <a:cs typeface="Arial" panose="020B0604020202020204" pitchFamily="34" charset="0"/>
              </a:rPr>
              <a:t>is </a:t>
            </a:r>
            <a:r>
              <a:rPr lang="en-GB" sz="1800" b="1" dirty="0" smtClean="0">
                <a:solidFill>
                  <a:srgbClr val="00ACD4"/>
                </a:solidFill>
                <a:latin typeface="Arial" panose="020B0604020202020204" pitchFamily="34" charset="0"/>
                <a:cs typeface="Arial" panose="020B0604020202020204" pitchFamily="34" charset="0"/>
              </a:rPr>
              <a:t>driving </a:t>
            </a:r>
            <a:r>
              <a:rPr lang="en-GB" sz="1800" b="1" dirty="0">
                <a:solidFill>
                  <a:srgbClr val="00ACD4"/>
                </a:solidFill>
                <a:latin typeface="Arial" panose="020B0604020202020204" pitchFamily="34" charset="0"/>
                <a:cs typeface="Arial" panose="020B0604020202020204" pitchFamily="34" charset="0"/>
              </a:rPr>
              <a:t>around two thirds of total global mobile money transactions, with values exceeding $25bn in December </a:t>
            </a:r>
            <a:r>
              <a:rPr lang="en-GB" sz="1800" b="1" dirty="0" smtClean="0">
                <a:solidFill>
                  <a:srgbClr val="00ACD4"/>
                </a:solidFill>
                <a:latin typeface="Arial" panose="020B0604020202020204" pitchFamily="34" charset="0"/>
                <a:cs typeface="Arial" panose="020B0604020202020204" pitchFamily="34" charset="0"/>
              </a:rPr>
              <a:t>2018.</a:t>
            </a:r>
            <a:endParaRPr lang="en-US" sz="1800" b="1" dirty="0">
              <a:solidFill>
                <a:srgbClr val="00ACD4"/>
              </a:solidFill>
              <a:latin typeface="Arial" panose="020B0604020202020204" pitchFamily="34" charset="0"/>
              <a:cs typeface="Arial" panose="020B0604020202020204" pitchFamily="34" charset="0"/>
            </a:endParaRPr>
          </a:p>
        </p:txBody>
      </p:sp>
      <p:cxnSp>
        <p:nvCxnSpPr>
          <p:cNvPr id="83" name="Straight Connector 82"/>
          <p:cNvCxnSpPr/>
          <p:nvPr>
            <p:custDataLst>
              <p:tags r:id="rId4"/>
            </p:custDataLst>
          </p:nvPr>
        </p:nvCxnSpPr>
        <p:spPr bwMode="auto">
          <a:xfrm flipV="1">
            <a:off x="3062288" y="3832225"/>
            <a:ext cx="0" cy="42862"/>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5"/>
            </p:custDataLst>
          </p:nvPr>
        </p:nvCxnSpPr>
        <p:spPr bwMode="auto">
          <a:xfrm flipV="1">
            <a:off x="3867150" y="3832225"/>
            <a:ext cx="0" cy="42862"/>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6"/>
            </p:custDataLst>
          </p:nvPr>
        </p:nvCxnSpPr>
        <p:spPr bwMode="auto">
          <a:xfrm flipV="1">
            <a:off x="1050925" y="3832225"/>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7"/>
            </p:custDataLst>
          </p:nvPr>
        </p:nvCxnSpPr>
        <p:spPr bwMode="auto">
          <a:xfrm flipV="1">
            <a:off x="2659063" y="3832225"/>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8"/>
            </p:custDataLst>
          </p:nvPr>
        </p:nvCxnSpPr>
        <p:spPr bwMode="auto">
          <a:xfrm flipV="1">
            <a:off x="1854200" y="3832225"/>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9"/>
            </p:custDataLst>
          </p:nvPr>
        </p:nvCxnSpPr>
        <p:spPr bwMode="auto">
          <a:xfrm flipV="1">
            <a:off x="3462338" y="3832225"/>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10"/>
            </p:custDataLst>
          </p:nvPr>
        </p:nvCxnSpPr>
        <p:spPr bwMode="auto">
          <a:xfrm flipV="1">
            <a:off x="1450975" y="3832225"/>
            <a:ext cx="0" cy="42862"/>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11"/>
            </p:custDataLst>
          </p:nvPr>
        </p:nvCxnSpPr>
        <p:spPr bwMode="auto">
          <a:xfrm flipV="1">
            <a:off x="4270375" y="3832225"/>
            <a:ext cx="0" cy="4286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12"/>
            </p:custDataLst>
          </p:nvPr>
        </p:nvCxnSpPr>
        <p:spPr bwMode="auto">
          <a:xfrm flipV="1">
            <a:off x="2259013" y="3832225"/>
            <a:ext cx="0" cy="42862"/>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13"/>
            </p:custDataLst>
          </p:nvPr>
        </p:nvCxnSpPr>
        <p:spPr bwMode="auto">
          <a:xfrm flipV="1">
            <a:off x="4670425" y="3832225"/>
            <a:ext cx="0" cy="42862"/>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Object 5"/>
          <p:cNvGraphicFramePr>
            <a:graphicFrameLocks/>
          </p:cNvGraphicFramePr>
          <p:nvPr>
            <p:custDataLst>
              <p:tags r:id="rId14"/>
            </p:custDataLst>
            <p:extLst>
              <p:ext uri="{D42A27DB-BD31-4B8C-83A1-F6EECF244321}">
                <p14:modId xmlns:p14="http://schemas.microsoft.com/office/powerpoint/2010/main" val="621910658"/>
              </p:ext>
            </p:extLst>
          </p:nvPr>
        </p:nvGraphicFramePr>
        <p:xfrm>
          <a:off x="876300" y="1600200"/>
          <a:ext cx="3897775" cy="2339497"/>
        </p:xfrm>
        <a:graphic>
          <a:graphicData uri="http://schemas.openxmlformats.org/presentationml/2006/ole">
            <mc:AlternateContent xmlns:mc="http://schemas.openxmlformats.org/markup-compatibility/2006">
              <mc:Choice xmlns:v="urn:schemas-microsoft-com:vml" Requires="v">
                <p:oleObj spid="_x0000_s104898" name="Chart" r:id="rId40" imgW="3897775" imgH="2339497" progId="MSGraph.Chart.8">
                  <p:embed followColorScheme="full"/>
                </p:oleObj>
              </mc:Choice>
              <mc:Fallback>
                <p:oleObj name="Chart" r:id="rId40" imgW="3897775" imgH="2339497" progId="MSGraph.Chart.8">
                  <p:embed followColorScheme="full"/>
                  <p:pic>
                    <p:nvPicPr>
                      <p:cNvPr id="6" name="Object 5"/>
                      <p:cNvPicPr/>
                      <p:nvPr/>
                    </p:nvPicPr>
                    <p:blipFill>
                      <a:blip r:embed="rId41"/>
                      <a:stretch>
                        <a:fillRect/>
                      </a:stretch>
                    </p:blipFill>
                    <p:spPr>
                      <a:xfrm>
                        <a:off x="876300" y="1600200"/>
                        <a:ext cx="3897775" cy="2339497"/>
                      </a:xfrm>
                      <a:prstGeom prst="rect">
                        <a:avLst/>
                      </a:prstGeom>
                    </p:spPr>
                  </p:pic>
                </p:oleObj>
              </mc:Fallback>
            </mc:AlternateContent>
          </a:graphicData>
        </a:graphic>
      </p:graphicFrame>
      <p:sp>
        <p:nvSpPr>
          <p:cNvPr id="132" name="Rectangle 131"/>
          <p:cNvSpPr/>
          <p:nvPr>
            <p:custDataLst>
              <p:tags r:id="rId15"/>
            </p:custDataLst>
          </p:nvPr>
        </p:nvSpPr>
        <p:spPr bwMode="gray">
          <a:xfrm>
            <a:off x="384175" y="1825625"/>
            <a:ext cx="5461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C834726-6AAD-4038-9A23-A3B3643A6333}" type="datetime'''$2''''5.0''B''''''''''''l''''''''''''n'''''''''''''''''">
              <a:rPr lang="en-GB" altLang="en-US" sz="1200">
                <a:solidFill>
                  <a:schemeClr val="tx1"/>
                </a:solidFill>
              </a:rPr>
              <a:pPr/>
              <a:t>$25.0Bln</a:t>
            </a:fld>
            <a:endParaRPr lang="en-GB" sz="1200" dirty="0">
              <a:solidFill>
                <a:schemeClr val="tx1"/>
              </a:solidFill>
              <a:sym typeface="+mn-lt"/>
            </a:endParaRPr>
          </a:p>
        </p:txBody>
      </p:sp>
      <p:sp>
        <p:nvSpPr>
          <p:cNvPr id="87" name="Rectangle 86"/>
          <p:cNvSpPr/>
          <p:nvPr>
            <p:custDataLst>
              <p:tags r:id="rId16"/>
            </p:custDataLst>
          </p:nvPr>
        </p:nvSpPr>
        <p:spPr bwMode="gray">
          <a:xfrm>
            <a:off x="461963" y="3167063"/>
            <a:ext cx="468313" cy="1825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726457D-9F97-4DB8-95AD-8C909DF87BB1}" type="datetime'''''''''''$''''''7.''''''''''5B''''l''''''''''''''n'''">
              <a:rPr lang="en-GB" altLang="en-US" sz="1200">
                <a:solidFill>
                  <a:schemeClr val="tx1"/>
                </a:solidFill>
                <a:sym typeface="+mn-lt"/>
              </a:rPr>
              <a:pPr algn="r">
                <a:spcBef>
                  <a:spcPct val="0"/>
                </a:spcBef>
                <a:spcAft>
                  <a:spcPct val="0"/>
                </a:spcAft>
              </a:pPr>
              <a:t>$7.5Bln</a:t>
            </a:fld>
            <a:endParaRPr lang="en-GB" sz="1200">
              <a:solidFill>
                <a:schemeClr val="tx1"/>
              </a:solidFill>
              <a:sym typeface="+mn-lt"/>
            </a:endParaRPr>
          </a:p>
        </p:txBody>
      </p:sp>
      <p:sp>
        <p:nvSpPr>
          <p:cNvPr id="86" name="Rectangle 85"/>
          <p:cNvSpPr/>
          <p:nvPr>
            <p:custDataLst>
              <p:tags r:id="rId17"/>
            </p:custDataLst>
          </p:nvPr>
        </p:nvSpPr>
        <p:spPr bwMode="gray">
          <a:xfrm>
            <a:off x="461963" y="3551238"/>
            <a:ext cx="468313" cy="1825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C58E7B9-7C94-4426-857D-174A153B8414}" type="datetime'''''$2''''''''''''''''''''.''''5''''B''l''''''''n'''''''">
              <a:rPr lang="en-GB" altLang="en-US" sz="1200">
                <a:solidFill>
                  <a:schemeClr val="tx1"/>
                </a:solidFill>
                <a:sym typeface="+mn-lt"/>
              </a:rPr>
              <a:pPr algn="r">
                <a:spcBef>
                  <a:spcPct val="0"/>
                </a:spcBef>
                <a:spcAft>
                  <a:spcPct val="0"/>
                </a:spcAft>
              </a:pPr>
              <a:t>$2.5Bln</a:t>
            </a:fld>
            <a:endParaRPr lang="en-GB" sz="1200">
              <a:solidFill>
                <a:schemeClr val="tx1"/>
              </a:solidFill>
              <a:sym typeface="+mn-lt"/>
            </a:endParaRPr>
          </a:p>
        </p:txBody>
      </p:sp>
      <p:sp>
        <p:nvSpPr>
          <p:cNvPr id="89" name="Rectangle 88"/>
          <p:cNvSpPr/>
          <p:nvPr>
            <p:custDataLst>
              <p:tags r:id="rId18"/>
            </p:custDataLst>
          </p:nvPr>
        </p:nvSpPr>
        <p:spPr bwMode="gray">
          <a:xfrm>
            <a:off x="384175" y="2400300"/>
            <a:ext cx="546100" cy="1825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8F1ED2B-1CE4-4644-81ED-48CFBFB46867}" type="datetime'''$''''''''''1''''''''''7''''''''.''5''''''B''l''n'''">
              <a:rPr lang="en-GB" altLang="en-US" sz="1200">
                <a:solidFill>
                  <a:schemeClr val="tx1"/>
                </a:solidFill>
                <a:sym typeface="+mn-lt"/>
              </a:rPr>
              <a:pPr algn="r">
                <a:spcBef>
                  <a:spcPct val="0"/>
                </a:spcBef>
                <a:spcAft>
                  <a:spcPct val="0"/>
                </a:spcAft>
              </a:pPr>
              <a:t>$17.5Bln</a:t>
            </a:fld>
            <a:endParaRPr lang="en-GB" sz="1200">
              <a:solidFill>
                <a:schemeClr val="tx1"/>
              </a:solidFill>
              <a:sym typeface="+mn-lt"/>
            </a:endParaRPr>
          </a:p>
        </p:txBody>
      </p:sp>
      <p:sp>
        <p:nvSpPr>
          <p:cNvPr id="90" name="Rectangle 89"/>
          <p:cNvSpPr/>
          <p:nvPr>
            <p:custDataLst>
              <p:tags r:id="rId19"/>
            </p:custDataLst>
          </p:nvPr>
        </p:nvSpPr>
        <p:spPr bwMode="gray">
          <a:xfrm>
            <a:off x="384175" y="2019300"/>
            <a:ext cx="546100" cy="1825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95300BB-F152-41CF-8A72-BB81B751C4EE}" type="datetime'$2''''2''.''''''''''''5''''''''''''''B''''ln'''''''">
              <a:rPr lang="en-GB" altLang="en-US" sz="1200">
                <a:solidFill>
                  <a:schemeClr val="tx1"/>
                </a:solidFill>
                <a:sym typeface="+mn-lt"/>
              </a:rPr>
              <a:pPr algn="r">
                <a:spcBef>
                  <a:spcPct val="0"/>
                </a:spcBef>
                <a:spcAft>
                  <a:spcPct val="0"/>
                </a:spcAft>
              </a:pPr>
              <a:t>$22.5Bln</a:t>
            </a:fld>
            <a:endParaRPr lang="en-GB" sz="1200">
              <a:solidFill>
                <a:schemeClr val="tx1"/>
              </a:solidFill>
              <a:sym typeface="+mn-lt"/>
            </a:endParaRPr>
          </a:p>
        </p:txBody>
      </p:sp>
      <p:sp>
        <p:nvSpPr>
          <p:cNvPr id="88" name="Rectangle 87"/>
          <p:cNvSpPr/>
          <p:nvPr>
            <p:custDataLst>
              <p:tags r:id="rId20"/>
            </p:custDataLst>
          </p:nvPr>
        </p:nvSpPr>
        <p:spPr bwMode="gray">
          <a:xfrm>
            <a:off x="384175" y="2786063"/>
            <a:ext cx="546100" cy="1825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0B99757-1511-4257-A091-B01F306D8817}" type="datetime'''''$12''''''''''.5''''''''''''Bl''''''n'''''''''''''''''''">
              <a:rPr lang="en-GB" altLang="en-US" sz="1200">
                <a:solidFill>
                  <a:schemeClr val="tx1"/>
                </a:solidFill>
                <a:sym typeface="+mn-lt"/>
              </a:rPr>
              <a:pPr algn="r">
                <a:spcBef>
                  <a:spcPct val="0"/>
                </a:spcBef>
                <a:spcAft>
                  <a:spcPct val="0"/>
                </a:spcAft>
              </a:pPr>
              <a:t>$12.5Bln</a:t>
            </a:fld>
            <a:endParaRPr lang="en-GB" sz="1200">
              <a:solidFill>
                <a:schemeClr val="tx1"/>
              </a:solidFill>
              <a:sym typeface="+mn-lt"/>
            </a:endParaRPr>
          </a:p>
        </p:txBody>
      </p:sp>
      <p:sp>
        <p:nvSpPr>
          <p:cNvPr id="91" name="Rectangle 90"/>
          <p:cNvSpPr/>
          <p:nvPr>
            <p:custDataLst>
              <p:tags r:id="rId21"/>
            </p:custDataLst>
          </p:nvPr>
        </p:nvSpPr>
        <p:spPr bwMode="gray">
          <a:xfrm>
            <a:off x="384175" y="1635125"/>
            <a:ext cx="546100" cy="1825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71940BC-D118-4CC4-B396-99EE238E8290}" type="datetime'''''''''''''$''''''2''''''7.''''5''''Bln'''''''''">
              <a:rPr lang="en-GB" altLang="en-US" sz="1200">
                <a:solidFill>
                  <a:schemeClr val="tx1"/>
                </a:solidFill>
                <a:sym typeface="+mn-lt"/>
              </a:rPr>
              <a:pPr algn="r">
                <a:spcBef>
                  <a:spcPct val="0"/>
                </a:spcBef>
                <a:spcAft>
                  <a:spcPct val="0"/>
                </a:spcAft>
              </a:pPr>
              <a:t>$27.5Bln</a:t>
            </a:fld>
            <a:endParaRPr lang="en-GB" sz="1200" dirty="0">
              <a:solidFill>
                <a:schemeClr val="tx1"/>
              </a:solidFill>
              <a:sym typeface="+mn-lt"/>
            </a:endParaRPr>
          </a:p>
        </p:txBody>
      </p:sp>
      <p:sp>
        <p:nvSpPr>
          <p:cNvPr id="131" name="Rectangle 130"/>
          <p:cNvSpPr/>
          <p:nvPr>
            <p:custDataLst>
              <p:tags r:id="rId22"/>
            </p:custDataLst>
          </p:nvPr>
        </p:nvSpPr>
        <p:spPr bwMode="gray">
          <a:xfrm>
            <a:off x="384175" y="2209800"/>
            <a:ext cx="5461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DDE08C6-A8CD-4B60-8424-09175C0D2D79}" type="datetime'''''''''''''$''2''''0''''''''.''''0''''''''''Bl''n'''''''">
              <a:rPr lang="en-GB" altLang="en-US" sz="1200">
                <a:solidFill>
                  <a:schemeClr val="tx1"/>
                </a:solidFill>
              </a:rPr>
              <a:pPr/>
              <a:t>$20.0Bln</a:t>
            </a:fld>
            <a:endParaRPr lang="en-GB" sz="1200">
              <a:solidFill>
                <a:schemeClr val="tx1"/>
              </a:solidFill>
              <a:sym typeface="+mn-lt"/>
            </a:endParaRPr>
          </a:p>
        </p:txBody>
      </p:sp>
      <p:sp>
        <p:nvSpPr>
          <p:cNvPr id="13" name="Rectangle 12"/>
          <p:cNvSpPr/>
          <p:nvPr>
            <p:custDataLst>
              <p:tags r:id="rId23"/>
            </p:custDataLst>
          </p:nvPr>
        </p:nvSpPr>
        <p:spPr bwMode="gray">
          <a:xfrm>
            <a:off x="384175" y="2590800"/>
            <a:ext cx="5461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1DA745A-4FBD-48EA-B1BB-A48A3AC647DB}" type="datetime'''''''''$''''''''''''''''''''1''''''5''.0''B''''''''l''n'">
              <a:rPr lang="en-GB" altLang="en-US" sz="1200">
                <a:solidFill>
                  <a:schemeClr val="tx1"/>
                </a:solidFill>
              </a:rPr>
              <a:pPr/>
              <a:t>$15.0Bln</a:t>
            </a:fld>
            <a:endParaRPr lang="en-GB" sz="1200">
              <a:solidFill>
                <a:schemeClr val="tx1"/>
              </a:solidFill>
              <a:sym typeface="+mn-lt"/>
            </a:endParaRPr>
          </a:p>
        </p:txBody>
      </p:sp>
      <p:sp>
        <p:nvSpPr>
          <p:cNvPr id="9" name="Rectangle 8"/>
          <p:cNvSpPr/>
          <p:nvPr>
            <p:custDataLst>
              <p:tags r:id="rId24"/>
            </p:custDataLst>
          </p:nvPr>
        </p:nvSpPr>
        <p:spPr bwMode="gray">
          <a:xfrm>
            <a:off x="461963" y="3357563"/>
            <a:ext cx="4683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2E6CD65-C009-46AA-B23A-6B2D378ECD8E}" type="datetime'$''5.''0''''''''B''''''''''''''l''''''''n'''''''''">
              <a:rPr lang="en-GB" altLang="en-US" sz="1200">
                <a:solidFill>
                  <a:schemeClr val="tx1"/>
                </a:solidFill>
              </a:rPr>
              <a:pPr/>
              <a:t>$5.0Bln</a:t>
            </a:fld>
            <a:endParaRPr lang="en-GB" sz="1200">
              <a:solidFill>
                <a:schemeClr val="tx1"/>
              </a:solidFill>
              <a:sym typeface="+mn-lt"/>
            </a:endParaRPr>
          </a:p>
        </p:txBody>
      </p:sp>
      <p:sp>
        <p:nvSpPr>
          <p:cNvPr id="62" name="Rectangle 61"/>
          <p:cNvSpPr/>
          <p:nvPr>
            <p:custDataLst>
              <p:tags r:id="rId25"/>
            </p:custDataLst>
          </p:nvPr>
        </p:nvSpPr>
        <p:spPr bwMode="gray">
          <a:xfrm>
            <a:off x="461963" y="3749675"/>
            <a:ext cx="468313"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lvl="0" algn="r">
              <a:lnSpc>
                <a:spcPct val="90000"/>
              </a:lnSpc>
              <a:spcBef>
                <a:spcPct val="0"/>
              </a:spcBef>
              <a:spcAft>
                <a:spcPct val="0"/>
              </a:spcAft>
            </a:pPr>
            <a:fld id="{6DC74B74-F0AC-4509-8A89-91E94B372A7F}" type="datetime'''$0''''''''''.''0''''''''Bl''n'''''''''''''''''''''''''''''">
              <a:rPr lang="en-GB" altLang="en-US" sz="1200">
                <a:solidFill>
                  <a:srgbClr val="000000"/>
                </a:solidFill>
              </a:rPr>
              <a:pPr/>
              <a:t>$0.0Bln</a:t>
            </a:fld>
            <a:endParaRPr kumimoji="0" lang="en-GB" sz="1200" strike="noStrike" kern="1200" cap="none" spc="0" normalizeH="0" noProof="0">
              <a:ln>
                <a:noFill/>
              </a:ln>
              <a:solidFill>
                <a:srgbClr val="000000"/>
              </a:solidFill>
              <a:effectLst/>
              <a:uLnTx/>
              <a:uFillTx/>
              <a:sym typeface="+mn-lt"/>
            </a:endParaRPr>
          </a:p>
        </p:txBody>
      </p:sp>
      <p:sp>
        <p:nvSpPr>
          <p:cNvPr id="21" name="Rectangle 20"/>
          <p:cNvSpPr/>
          <p:nvPr>
            <p:custDataLst>
              <p:tags r:id="rId26"/>
            </p:custDataLst>
          </p:nvPr>
        </p:nvSpPr>
        <p:spPr bwMode="gray">
          <a:xfrm>
            <a:off x="384175" y="2984500"/>
            <a:ext cx="546100"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lvl="0" algn="r">
              <a:lnSpc>
                <a:spcPct val="90000"/>
              </a:lnSpc>
              <a:spcBef>
                <a:spcPct val="0"/>
              </a:spcBef>
              <a:spcAft>
                <a:spcPct val="0"/>
              </a:spcAft>
            </a:pPr>
            <a:fld id="{1F618505-9C06-4345-A721-F4F8739C45EA}" type="datetime'''''''''$''''''''''''10''''''''''.''''''''0B''ln'''''">
              <a:rPr lang="en-GB" altLang="en-US" sz="1200">
                <a:solidFill>
                  <a:srgbClr val="000000"/>
                </a:solidFill>
              </a:rPr>
              <a:pPr/>
              <a:t>$10.0Bln</a:t>
            </a:fld>
            <a:endParaRPr kumimoji="0" lang="en-GB" sz="1200" strike="noStrike" kern="1200" cap="none" spc="0" normalizeH="0" noProof="0">
              <a:ln>
                <a:noFill/>
              </a:ln>
              <a:solidFill>
                <a:srgbClr val="000000"/>
              </a:solidFill>
              <a:effectLst/>
              <a:uLnTx/>
              <a:uFillTx/>
              <a:sym typeface="+mn-lt"/>
            </a:endParaRPr>
          </a:p>
        </p:txBody>
      </p:sp>
      <p:cxnSp>
        <p:nvCxnSpPr>
          <p:cNvPr id="148" name="Straight Connector 147"/>
          <p:cNvCxnSpPr/>
          <p:nvPr>
            <p:custDataLst>
              <p:tags r:id="rId27"/>
            </p:custDataLst>
          </p:nvPr>
        </p:nvCxnSpPr>
        <p:spPr bwMode="gray">
          <a:xfrm>
            <a:off x="1420813" y="1660525"/>
            <a:ext cx="0" cy="1989138"/>
          </a:xfrm>
          <a:prstGeom prst="line">
            <a:avLst/>
          </a:prstGeom>
          <a:ln w="12700">
            <a:solidFill>
              <a:srgbClr val="00ACD4"/>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custDataLst>
              <p:tags r:id="rId28"/>
            </p:custDataLst>
          </p:nvPr>
        </p:nvCxnSpPr>
        <p:spPr bwMode="gray">
          <a:xfrm flipV="1">
            <a:off x="4635500" y="1660525"/>
            <a:ext cx="0" cy="76200"/>
          </a:xfrm>
          <a:prstGeom prst="line">
            <a:avLst/>
          </a:prstGeom>
          <a:ln w="12700">
            <a:solidFill>
              <a:srgbClr val="00ACD4"/>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custDataLst>
              <p:tags r:id="rId29"/>
            </p:custDataLst>
          </p:nvPr>
        </p:nvCxnSpPr>
        <p:spPr bwMode="gray">
          <a:xfrm flipH="1">
            <a:off x="1420813" y="1660525"/>
            <a:ext cx="3214688" cy="0"/>
          </a:xfrm>
          <a:prstGeom prst="line">
            <a:avLst/>
          </a:prstGeom>
          <a:ln w="12700">
            <a:solidFill>
              <a:srgbClr val="00ACD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5" name="Oval 144"/>
          <p:cNvSpPr/>
          <p:nvPr>
            <p:custDataLst>
              <p:tags r:id="rId30"/>
            </p:custDataLst>
          </p:nvPr>
        </p:nvSpPr>
        <p:spPr bwMode="auto">
          <a:xfrm>
            <a:off x="2849563" y="1543050"/>
            <a:ext cx="357188" cy="234950"/>
          </a:xfrm>
          <a:prstGeom prst="ellipse">
            <a:avLst/>
          </a:prstGeom>
          <a:solidFill>
            <a:schemeClr val="bg1"/>
          </a:solidFill>
          <a:ln w="9525">
            <a:solidFill>
              <a:srgbClr val="00ACD4"/>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r>
              <a:rPr lang="en-GB" altLang="en-US" sz="1200" b="1" dirty="0" smtClean="0">
                <a:solidFill>
                  <a:srgbClr val="00B0F0"/>
                </a:solidFill>
                <a:latin typeface="Arial" panose="020B0604020202020204" pitchFamily="34" charset="0"/>
                <a:cs typeface="Arial" panose="020B0604020202020204" pitchFamily="34" charset="0"/>
                <a:sym typeface="Arial" panose="020B0604020202020204" pitchFamily="34" charset="0"/>
              </a:rPr>
              <a:t>25x</a:t>
            </a:r>
            <a:endParaRPr lang="en-GB" sz="1200" b="1" dirty="0">
              <a:solidFill>
                <a:srgbClr val="00B0F0"/>
              </a:solidFill>
              <a:latin typeface="Arial" panose="020B0604020202020204" pitchFamily="34" charset="0"/>
              <a:cs typeface="Arial" panose="020B0604020202020204" pitchFamily="34" charset="0"/>
              <a:sym typeface="Arial" panose="020B0604020202020204" pitchFamily="34" charset="0"/>
            </a:endParaRPr>
          </a:p>
        </p:txBody>
      </p:sp>
      <p:sp>
        <p:nvSpPr>
          <p:cNvPr id="106" name="TextBox 105"/>
          <p:cNvSpPr txBox="1"/>
          <p:nvPr/>
        </p:nvSpPr>
        <p:spPr>
          <a:xfrm>
            <a:off x="301356" y="1261673"/>
            <a:ext cx="551465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smtClean="0">
                <a:ln>
                  <a:noFill/>
                </a:ln>
                <a:solidFill>
                  <a:srgbClr val="00ACD4"/>
                </a:solidFill>
                <a:effectLst/>
                <a:uLnTx/>
                <a:uFillTx/>
                <a:latin typeface="Arial" panose="020B0604020202020204" pitchFamily="34" charset="0"/>
                <a:ea typeface="+mn-ea"/>
                <a:cs typeface="Arial" panose="020B0604020202020204" pitchFamily="34" charset="0"/>
              </a:rPr>
              <a:t>Total value of mobile money transactions on a monthly basis – 2010–18 ($ US)  </a:t>
            </a:r>
            <a:endParaRPr kumimoji="0" lang="en-GB" sz="1100" b="1" i="0" u="none" strike="noStrike" kern="1200" cap="none" spc="0" normalizeH="0" baseline="0" noProof="0" dirty="0">
              <a:ln>
                <a:noFill/>
              </a:ln>
              <a:solidFill>
                <a:srgbClr val="00ACD4"/>
              </a:solidFill>
              <a:effectLst/>
              <a:uLnTx/>
              <a:uFillTx/>
              <a:latin typeface="Arial" panose="020B0604020202020204" pitchFamily="34" charset="0"/>
              <a:ea typeface="+mn-ea"/>
              <a:cs typeface="Arial" panose="020B0604020202020204" pitchFamily="34" charset="0"/>
            </a:endParaRPr>
          </a:p>
        </p:txBody>
      </p:sp>
      <p:sp>
        <p:nvSpPr>
          <p:cNvPr id="48" name="Isosceles Triangle 47"/>
          <p:cNvSpPr/>
          <p:nvPr/>
        </p:nvSpPr>
        <p:spPr>
          <a:xfrm rot="5400000">
            <a:off x="3786604" y="2598738"/>
            <a:ext cx="2062762" cy="194196"/>
          </a:xfrm>
          <a:prstGeom prst="triangle">
            <a:avLst>
              <a:gd name="adj" fmla="val 49330"/>
            </a:avLst>
          </a:prstGeom>
          <a:noFill/>
          <a:ln>
            <a:solidFill>
              <a:srgbClr val="00AC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8" name="Text Placeholder 2"/>
          <p:cNvSpPr>
            <a:spLocks noGrp="1"/>
          </p:cNvSpPr>
          <p:nvPr>
            <p:custDataLst>
              <p:tags r:id="rId31"/>
            </p:custDataLst>
          </p:nvPr>
        </p:nvSpPr>
        <p:spPr bwMode="gray">
          <a:xfrm>
            <a:off x="1199588" y="4060825"/>
            <a:ext cx="488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000" dirty="0" smtClean="0">
                <a:latin typeface="Arial" panose="020B0604020202020204" pitchFamily="34" charset="0"/>
                <a:cs typeface="Arial" panose="020B0604020202020204" pitchFamily="34" charset="0"/>
                <a:sym typeface="Arial" panose="020B0604020202020204" pitchFamily="34" charset="0"/>
              </a:rPr>
              <a:t>Dec-10</a:t>
            </a:r>
          </a:p>
        </p:txBody>
      </p:sp>
      <p:sp>
        <p:nvSpPr>
          <p:cNvPr id="110" name="Text Placeholder 2"/>
          <p:cNvSpPr>
            <a:spLocks noGrp="1"/>
          </p:cNvSpPr>
          <p:nvPr>
            <p:custDataLst>
              <p:tags r:id="rId32"/>
            </p:custDataLst>
          </p:nvPr>
        </p:nvSpPr>
        <p:spPr bwMode="gray">
          <a:xfrm>
            <a:off x="3658300" y="4068763"/>
            <a:ext cx="488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000" dirty="0" smtClean="0">
                <a:latin typeface="Arial" panose="020B0604020202020204" pitchFamily="34" charset="0"/>
                <a:cs typeface="Arial" panose="020B0604020202020204" pitchFamily="34" charset="0"/>
                <a:sym typeface="Arial" panose="020B0604020202020204" pitchFamily="34" charset="0"/>
              </a:rPr>
              <a:t>Dec-16</a:t>
            </a:r>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111" name="Text Placeholder 2"/>
          <p:cNvSpPr>
            <a:spLocks noGrp="1"/>
          </p:cNvSpPr>
          <p:nvPr>
            <p:custDataLst>
              <p:tags r:id="rId33"/>
            </p:custDataLst>
          </p:nvPr>
        </p:nvSpPr>
        <p:spPr bwMode="gray">
          <a:xfrm>
            <a:off x="2861536" y="4068763"/>
            <a:ext cx="488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000" dirty="0" smtClean="0">
                <a:latin typeface="Arial" panose="020B0604020202020204" pitchFamily="34" charset="0"/>
                <a:cs typeface="Arial" panose="020B0604020202020204" pitchFamily="34" charset="0"/>
                <a:sym typeface="Arial" panose="020B0604020202020204" pitchFamily="34" charset="0"/>
              </a:rPr>
              <a:t>Dec-14</a:t>
            </a:r>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115" name="Text Placeholder 2"/>
          <p:cNvSpPr>
            <a:spLocks noGrp="1"/>
          </p:cNvSpPr>
          <p:nvPr>
            <p:custDataLst>
              <p:tags r:id="rId34"/>
            </p:custDataLst>
          </p:nvPr>
        </p:nvSpPr>
        <p:spPr bwMode="gray">
          <a:xfrm>
            <a:off x="2046610" y="4068763"/>
            <a:ext cx="488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sz="1000" dirty="0" smtClean="0">
                <a:latin typeface="Arial" panose="020B0604020202020204" pitchFamily="34" charset="0"/>
                <a:cs typeface="Arial" panose="020B0604020202020204" pitchFamily="34" charset="0"/>
                <a:sym typeface="Arial" panose="020B0604020202020204" pitchFamily="34" charset="0"/>
              </a:rPr>
              <a:t>Dec-12</a:t>
            </a:r>
            <a:endParaRPr lang="en-GB" sz="1000" dirty="0">
              <a:latin typeface="Arial" panose="020B0604020202020204" pitchFamily="34" charset="0"/>
              <a:cs typeface="Arial" panose="020B0604020202020204" pitchFamily="34" charset="0"/>
              <a:sym typeface="Arial" panose="020B0604020202020204" pitchFamily="34" charset="0"/>
            </a:endParaRPr>
          </a:p>
        </p:txBody>
      </p:sp>
      <p:sp>
        <p:nvSpPr>
          <p:cNvPr id="121" name="Text Placeholder 2"/>
          <p:cNvSpPr>
            <a:spLocks noGrp="1"/>
          </p:cNvSpPr>
          <p:nvPr>
            <p:custDataLst>
              <p:tags r:id="rId35"/>
            </p:custDataLst>
          </p:nvPr>
        </p:nvSpPr>
        <p:spPr bwMode="gray">
          <a:xfrm>
            <a:off x="4411525" y="4068763"/>
            <a:ext cx="4889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spcBef>
                <a:spcPct val="0"/>
              </a:spcBef>
              <a:spcAft>
                <a:spcPct val="0"/>
              </a:spcAft>
              <a:buNone/>
            </a:pPr>
            <a:r>
              <a:rPr lang="en-GB" altLang="en-US" sz="1000" dirty="0" smtClean="0">
                <a:latin typeface="Arial" panose="020B0604020202020204" pitchFamily="34" charset="0"/>
                <a:cs typeface="Arial" panose="020B0604020202020204" pitchFamily="34" charset="0"/>
                <a:sym typeface="Arial" panose="020B0604020202020204" pitchFamily="34" charset="0"/>
              </a:rPr>
              <a:t>Dec-18</a:t>
            </a:r>
            <a:endParaRPr lang="en-GB" sz="1000" dirty="0">
              <a:latin typeface="Arial" panose="020B0604020202020204" pitchFamily="34" charset="0"/>
              <a:cs typeface="Arial" panose="020B0604020202020204" pitchFamily="34" charset="0"/>
              <a:sym typeface="Arial" panose="020B0604020202020204" pitchFamily="34" charset="0"/>
            </a:endParaRPr>
          </a:p>
        </p:txBody>
      </p:sp>
      <p:pic>
        <p:nvPicPr>
          <p:cNvPr id="123" name="Picture 122">
            <a:extLst>
              <a:ext uri="{FF2B5EF4-FFF2-40B4-BE49-F238E27FC236}">
                <a16:creationId xmlns:a16="http://schemas.microsoft.com/office/drawing/2014/main" id="{D1BBFB28-B1AF-C249-BB63-0D06D590D12F}"/>
              </a:ext>
            </a:extLst>
          </p:cNvPr>
          <p:cNvPicPr>
            <a:picLocks noChangeAspect="1"/>
          </p:cNvPicPr>
          <p:nvPr/>
        </p:nvPicPr>
        <p:blipFill>
          <a:blip r:embed="rId42" cstate="hqprint">
            <a:extLst>
              <a:ext uri="{28A0092B-C50C-407E-A947-70E740481C1C}">
                <a14:useLocalDpi xmlns:a14="http://schemas.microsoft.com/office/drawing/2010/main" val="0"/>
              </a:ext>
            </a:extLst>
          </a:blip>
          <a:stretch>
            <a:fillRect/>
          </a:stretch>
        </p:blipFill>
        <p:spPr>
          <a:xfrm>
            <a:off x="247323" y="275686"/>
            <a:ext cx="534416" cy="534416"/>
          </a:xfrm>
          <a:prstGeom prst="rect">
            <a:avLst/>
          </a:prstGeom>
        </p:spPr>
      </p:pic>
    </p:spTree>
    <p:extLst>
      <p:ext uri="{BB962C8B-B14F-4D97-AF65-F5344CB8AC3E}">
        <p14:creationId xmlns:p14="http://schemas.microsoft.com/office/powerpoint/2010/main" val="36801756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5" cstate="hqprint">
            <a:extLst>
              <a:ext uri="{28A0092B-C50C-407E-A947-70E740481C1C}">
                <a14:useLocalDpi xmlns:a14="http://schemas.microsoft.com/office/drawing/2010/main" val="0"/>
              </a:ext>
            </a:extLst>
          </a:blip>
          <a:srcRect t="10433" r="756"/>
          <a:stretch/>
        </p:blipFill>
        <p:spPr>
          <a:xfrm>
            <a:off x="365460" y="863682"/>
            <a:ext cx="8430685" cy="4182144"/>
          </a:xfrm>
          <a:prstGeom prst="rect">
            <a:avLst/>
          </a:prstGeom>
        </p:spPr>
      </p:pic>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4020535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124" name="think-cell Slide" r:id="rId6" imgW="415" imgH="416" progId="TCLayout.ActiveDocument.1">
                  <p:embed/>
                </p:oleObj>
              </mc:Choice>
              <mc:Fallback>
                <p:oleObj name="think-cell Slide" r:id="rId6" imgW="415" imgH="416" progId="TCLayout.ActiveDocument.1">
                  <p:embed/>
                  <p:pic>
                    <p:nvPicPr>
                      <p:cNvPr id="19" name="Object 1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kumimoji="0" lang="en-GB" sz="1000" b="1" u="none" strike="noStrike" kern="1200" cap="none" spc="0" normalizeH="0" noProof="0" dirty="0">
              <a:ln>
                <a:noFill/>
              </a:ln>
              <a:solidFill>
                <a:srgbClr val="FFFFFF"/>
              </a:solidFill>
              <a:effectLst/>
              <a:uLnTx/>
              <a:uFillTx/>
              <a:latin typeface="Calibri Light" panose="020F0302020204030204" pitchFamily="34" charset="0"/>
              <a:ea typeface="+mj-ea"/>
              <a:cs typeface="+mj-cs"/>
              <a:sym typeface="Calibri Light" panose="020F0302020204030204" pitchFamily="34" charset="0"/>
            </a:endParaRPr>
          </a:p>
        </p:txBody>
      </p:sp>
      <p:sp>
        <p:nvSpPr>
          <p:cNvPr id="3" name="Slide Number Placeholder 2"/>
          <p:cNvSpPr>
            <a:spLocks noGrp="1"/>
          </p:cNvSpPr>
          <p:nvPr>
            <p:ph type="sldNum" sz="quarter" idx="4294967295"/>
          </p:nvPr>
        </p:nvSpPr>
        <p:spPr>
          <a:xfrm>
            <a:off x="0" y="4827588"/>
            <a:ext cx="2133600" cy="27305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52D2AFC-71C4-4511-B128-4ECEE52D3027}" type="slidenum">
              <a:rPr kumimoji="0" lang="en-ZA" sz="800" b="0" i="0" u="none" strike="noStrike" kern="1200" cap="none" spc="0" normalizeH="0" baseline="0" noProof="0" smtClean="0">
                <a:ln>
                  <a:noFill/>
                </a:ln>
                <a:solidFill>
                  <a:srgbClr val="5C5C5C">
                    <a:tint val="75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ZA" sz="800" b="0" i="0" u="none" strike="noStrike" kern="1200" cap="none" spc="0" normalizeH="0" baseline="0" noProof="0" dirty="0">
              <a:ln>
                <a:noFill/>
              </a:ln>
              <a:solidFill>
                <a:srgbClr val="5C5C5C">
                  <a:tint val="75000"/>
                </a:srgbClr>
              </a:solidFill>
              <a:effectLst/>
              <a:uLnTx/>
              <a:uFillTx/>
              <a:latin typeface="Arial" panose="020B0604020202020204" pitchFamily="34" charset="0"/>
              <a:ea typeface="+mn-ea"/>
              <a:cs typeface="Arial" panose="020B0604020202020204" pitchFamily="34" charset="0"/>
            </a:endParaRPr>
          </a:p>
        </p:txBody>
      </p:sp>
      <p:sp>
        <p:nvSpPr>
          <p:cNvPr id="2" name="Title 1"/>
          <p:cNvSpPr>
            <a:spLocks noGrp="1"/>
          </p:cNvSpPr>
          <p:nvPr>
            <p:ph type="title" idx="4294967295"/>
          </p:nvPr>
        </p:nvSpPr>
        <p:spPr>
          <a:xfrm>
            <a:off x="782552" y="276225"/>
            <a:ext cx="8482012" cy="857250"/>
          </a:xfrm>
          <a:prstGeom prst="rect">
            <a:avLst/>
          </a:prstGeom>
        </p:spPr>
        <p:txBody>
          <a:bodyPr>
            <a:noAutofit/>
          </a:bodyPr>
          <a:lstStyle/>
          <a:p>
            <a:r>
              <a:rPr lang="en-GB" sz="1800" b="1" dirty="0" smtClean="0">
                <a:solidFill>
                  <a:srgbClr val="00ACD4"/>
                </a:solidFill>
                <a:latin typeface="Arial" panose="020B0604020202020204" pitchFamily="34" charset="0"/>
                <a:cs typeface="Arial" panose="020B0604020202020204" pitchFamily="34" charset="0"/>
              </a:rPr>
              <a:t>Since 2010, customer distribution across the region </a:t>
            </a:r>
            <a:r>
              <a:rPr lang="en-GB" sz="1800" b="1" dirty="0">
                <a:solidFill>
                  <a:srgbClr val="00ACD4"/>
                </a:solidFill>
                <a:latin typeface="Arial" panose="020B0604020202020204" pitchFamily="34" charset="0"/>
                <a:cs typeface="Arial" panose="020B0604020202020204" pitchFamily="34" charset="0"/>
              </a:rPr>
              <a:t>has become more </a:t>
            </a:r>
            <a:r>
              <a:rPr lang="en-GB" sz="1800" b="1" dirty="0" smtClean="0">
                <a:solidFill>
                  <a:srgbClr val="00ACD4"/>
                </a:solidFill>
                <a:latin typeface="Arial" panose="020B0604020202020204" pitchFamily="34" charset="0"/>
                <a:cs typeface="Arial" panose="020B0604020202020204" pitchFamily="34" charset="0"/>
              </a:rPr>
              <a:t>diverse, </a:t>
            </a:r>
            <a:r>
              <a:rPr lang="en-GB" sz="1800" b="1" dirty="0">
                <a:solidFill>
                  <a:srgbClr val="00ACD4"/>
                </a:solidFill>
                <a:latin typeface="Arial" panose="020B0604020202020204" pitchFamily="34" charset="0"/>
                <a:cs typeface="Arial" panose="020B0604020202020204" pitchFamily="34" charset="0"/>
              </a:rPr>
              <a:t>with </a:t>
            </a:r>
            <a:r>
              <a:rPr lang="en-GB" sz="1800" b="1" dirty="0" smtClean="0">
                <a:solidFill>
                  <a:srgbClr val="00ACD4"/>
                </a:solidFill>
                <a:latin typeface="Arial" panose="020B0604020202020204" pitchFamily="34" charset="0"/>
                <a:cs typeface="Arial" panose="020B0604020202020204" pitchFamily="34" charset="0"/>
              </a:rPr>
              <a:t>sub-regions such as Western </a:t>
            </a:r>
            <a:r>
              <a:rPr lang="en-GB" sz="1800" b="1" dirty="0">
                <a:solidFill>
                  <a:srgbClr val="00ACD4"/>
                </a:solidFill>
                <a:latin typeface="Arial" panose="020B0604020202020204" pitchFamily="34" charset="0"/>
                <a:cs typeface="Arial" panose="020B0604020202020204" pitchFamily="34" charset="0"/>
              </a:rPr>
              <a:t>and Middle Africa growing their market </a:t>
            </a:r>
            <a:r>
              <a:rPr lang="en-GB" sz="1800" b="1" dirty="0" smtClean="0">
                <a:solidFill>
                  <a:srgbClr val="00ACD4"/>
                </a:solidFill>
                <a:latin typeface="Arial" panose="020B0604020202020204" pitchFamily="34" charset="0"/>
                <a:cs typeface="Arial" panose="020B0604020202020204" pitchFamily="34" charset="0"/>
              </a:rPr>
              <a:t>shares.</a:t>
            </a:r>
            <a:endParaRPr lang="en-GB" sz="1800" b="1" dirty="0">
              <a:solidFill>
                <a:srgbClr val="00ACD4"/>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D1BBFB28-B1AF-C249-BB63-0D06D590D12F}"/>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47323" y="275686"/>
            <a:ext cx="534416" cy="534416"/>
          </a:xfrm>
          <a:prstGeom prst="rect">
            <a:avLst/>
          </a:prstGeom>
        </p:spPr>
      </p:pic>
    </p:spTree>
    <p:extLst>
      <p:ext uri="{BB962C8B-B14F-4D97-AF65-F5344CB8AC3E}">
        <p14:creationId xmlns:p14="http://schemas.microsoft.com/office/powerpoint/2010/main" val="220828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40"/>
          <p:cNvGrpSpPr/>
          <p:nvPr/>
        </p:nvGrpSpPr>
        <p:grpSpPr>
          <a:xfrm>
            <a:off x="544956" y="1673665"/>
            <a:ext cx="2546587" cy="2223756"/>
            <a:chOff x="582033" y="1341578"/>
            <a:chExt cx="2722398" cy="2638631"/>
          </a:xfrm>
        </p:grpSpPr>
        <p:grpSp>
          <p:nvGrpSpPr>
            <p:cNvPr id="14" name="Group 13"/>
            <p:cNvGrpSpPr/>
            <p:nvPr/>
          </p:nvGrpSpPr>
          <p:grpSpPr>
            <a:xfrm>
              <a:off x="933060" y="1709449"/>
              <a:ext cx="2006081" cy="1901111"/>
              <a:chOff x="933062" y="912068"/>
              <a:chExt cx="3494314" cy="3297205"/>
            </a:xfrm>
          </p:grpSpPr>
          <p:sp>
            <p:nvSpPr>
              <p:cNvPr id="6" name="Isosceles Triangle 5"/>
              <p:cNvSpPr/>
              <p:nvPr/>
            </p:nvSpPr>
            <p:spPr>
              <a:xfrm>
                <a:off x="2010747" y="912068"/>
                <a:ext cx="1348274" cy="2246345"/>
              </a:xfrm>
              <a:prstGeom prst="triangle">
                <a:avLst/>
              </a:prstGeom>
              <a:noFill/>
              <a:ln>
                <a:solidFill>
                  <a:srgbClr val="AFE1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Isosceles Triangle 6"/>
              <p:cNvSpPr/>
              <p:nvPr/>
            </p:nvSpPr>
            <p:spPr>
              <a:xfrm rot="5400000">
                <a:off x="2542592" y="1273629"/>
                <a:ext cx="1348274" cy="2421294"/>
              </a:xfrm>
              <a:prstGeom prst="triangle">
                <a:avLst/>
              </a:prstGeom>
              <a:noFill/>
              <a:ln>
                <a:solidFill>
                  <a:srgbClr val="AFE1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Isosceles Triangle 7"/>
              <p:cNvSpPr/>
              <p:nvPr/>
            </p:nvSpPr>
            <p:spPr>
              <a:xfrm rot="10800000">
                <a:off x="2006083" y="1787979"/>
                <a:ext cx="1348274" cy="2421294"/>
              </a:xfrm>
              <a:prstGeom prst="triangle">
                <a:avLst/>
              </a:prstGeom>
              <a:noFill/>
              <a:ln>
                <a:solidFill>
                  <a:srgbClr val="AFE1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Isosceles Triangle 9"/>
              <p:cNvSpPr/>
              <p:nvPr/>
            </p:nvSpPr>
            <p:spPr>
              <a:xfrm rot="16200000">
                <a:off x="1469572" y="1284709"/>
                <a:ext cx="1348274" cy="2421294"/>
              </a:xfrm>
              <a:prstGeom prst="triangle">
                <a:avLst/>
              </a:prstGeom>
              <a:noFill/>
              <a:ln>
                <a:solidFill>
                  <a:srgbClr val="AFE1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6" name="Picture 15"/>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770196" y="1341578"/>
              <a:ext cx="394218" cy="394218"/>
            </a:xfrm>
            <a:prstGeom prst="rect">
              <a:avLst/>
            </a:prstGeom>
          </p:spPr>
        </p:pic>
        <p:pic>
          <p:nvPicPr>
            <p:cNvPr id="17" name="Picture 1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42463" y="1946416"/>
              <a:ext cx="394218" cy="394218"/>
            </a:xfrm>
            <a:prstGeom prst="rect">
              <a:avLst/>
            </a:prstGeom>
            <a:ln>
              <a:noFill/>
            </a:ln>
          </p:spPr>
        </p:pic>
        <p:pic>
          <p:nvPicPr>
            <p:cNvPr id="18" name="Picture 17"/>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242463" y="2913926"/>
              <a:ext cx="394218" cy="394218"/>
            </a:xfrm>
            <a:prstGeom prst="rect">
              <a:avLst/>
            </a:prstGeom>
            <a:ln>
              <a:noFill/>
            </a:ln>
          </p:spPr>
        </p:pic>
        <p:pic>
          <p:nvPicPr>
            <p:cNvPr id="19" name="Picture 18"/>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82033" y="2416520"/>
              <a:ext cx="394218" cy="394218"/>
            </a:xfrm>
            <a:prstGeom prst="rect">
              <a:avLst/>
            </a:prstGeom>
            <a:ln>
              <a:noFill/>
            </a:ln>
          </p:spPr>
        </p:pic>
        <p:pic>
          <p:nvPicPr>
            <p:cNvPr id="20" name="Picture 19"/>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770196" y="3585991"/>
              <a:ext cx="394218" cy="394218"/>
            </a:xfrm>
            <a:prstGeom prst="rect">
              <a:avLst/>
            </a:prstGeom>
            <a:ln>
              <a:noFill/>
            </a:ln>
          </p:spPr>
        </p:pic>
        <p:pic>
          <p:nvPicPr>
            <p:cNvPr id="21" name="Picture 20"/>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2910213" y="2416520"/>
              <a:ext cx="394218" cy="394218"/>
            </a:xfrm>
            <a:prstGeom prst="rect">
              <a:avLst/>
            </a:prstGeom>
            <a:ln>
              <a:noFill/>
            </a:ln>
          </p:spPr>
        </p:pic>
        <p:pic>
          <p:nvPicPr>
            <p:cNvPr id="22" name="Picture 21"/>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770196" y="2385064"/>
              <a:ext cx="394218" cy="394218"/>
            </a:xfrm>
            <a:prstGeom prst="rect">
              <a:avLst/>
            </a:prstGeom>
            <a:ln>
              <a:noFill/>
            </a:ln>
          </p:spPr>
        </p:pic>
        <p:pic>
          <p:nvPicPr>
            <p:cNvPr id="23" name="Picture 22"/>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2261308" y="1946416"/>
              <a:ext cx="394218" cy="394218"/>
            </a:xfrm>
            <a:prstGeom prst="rect">
              <a:avLst/>
            </a:prstGeom>
            <a:ln>
              <a:noFill/>
            </a:ln>
          </p:spPr>
        </p:pic>
        <p:pic>
          <p:nvPicPr>
            <p:cNvPr id="24" name="Picture 23"/>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2261308" y="2930349"/>
              <a:ext cx="394218" cy="394218"/>
            </a:xfrm>
            <a:prstGeom prst="rect">
              <a:avLst/>
            </a:prstGeom>
            <a:ln>
              <a:noFill/>
            </a:ln>
          </p:spPr>
        </p:pic>
      </p:grpSp>
      <p:grpSp>
        <p:nvGrpSpPr>
          <p:cNvPr id="42" name="Group 41"/>
          <p:cNvGrpSpPr/>
          <p:nvPr/>
        </p:nvGrpSpPr>
        <p:grpSpPr>
          <a:xfrm>
            <a:off x="4187458" y="1877572"/>
            <a:ext cx="1205155" cy="1750851"/>
            <a:chOff x="3688664" y="1322910"/>
            <a:chExt cx="1248233" cy="2031996"/>
          </a:xfrm>
        </p:grpSpPr>
        <p:grpSp>
          <p:nvGrpSpPr>
            <p:cNvPr id="15" name="Group 14"/>
            <p:cNvGrpSpPr/>
            <p:nvPr/>
          </p:nvGrpSpPr>
          <p:grpSpPr>
            <a:xfrm>
              <a:off x="3998168" y="1662594"/>
              <a:ext cx="695130" cy="1339850"/>
              <a:chOff x="4767943" y="923530"/>
              <a:chExt cx="1385596" cy="2257043"/>
            </a:xfrm>
          </p:grpSpPr>
          <p:sp>
            <p:nvSpPr>
              <p:cNvPr id="5" name="Rectangle 4"/>
              <p:cNvSpPr/>
              <p:nvPr/>
            </p:nvSpPr>
            <p:spPr>
              <a:xfrm>
                <a:off x="4767943" y="1787979"/>
                <a:ext cx="1385596" cy="1392594"/>
              </a:xfrm>
              <a:prstGeom prst="rect">
                <a:avLst/>
              </a:prstGeom>
              <a:noFill/>
              <a:ln>
                <a:solidFill>
                  <a:srgbClr val="EB62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Isosceles Triangle 11"/>
              <p:cNvSpPr/>
              <p:nvPr/>
            </p:nvSpPr>
            <p:spPr>
              <a:xfrm>
                <a:off x="4789712" y="923530"/>
                <a:ext cx="1348273" cy="2246345"/>
              </a:xfrm>
              <a:prstGeom prst="triangle">
                <a:avLst/>
              </a:prstGeom>
              <a:noFill/>
              <a:ln>
                <a:solidFill>
                  <a:srgbClr val="EB62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5" name="Picture 24"/>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151815" y="1322910"/>
              <a:ext cx="396908" cy="396908"/>
            </a:xfrm>
            <a:prstGeom prst="rect">
              <a:avLst/>
            </a:prstGeom>
            <a:ln>
              <a:noFill/>
            </a:ln>
          </p:spPr>
        </p:pic>
        <p:pic>
          <p:nvPicPr>
            <p:cNvPr id="26" name="Picture 2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539989" y="1822743"/>
              <a:ext cx="396908" cy="396908"/>
            </a:xfrm>
            <a:prstGeom prst="rect">
              <a:avLst/>
            </a:prstGeom>
            <a:ln>
              <a:noFill/>
            </a:ln>
          </p:spPr>
        </p:pic>
        <p:pic>
          <p:nvPicPr>
            <p:cNvPr id="27" name="Picture 2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688664" y="2952547"/>
              <a:ext cx="396908" cy="396908"/>
            </a:xfrm>
            <a:prstGeom prst="rect">
              <a:avLst/>
            </a:prstGeom>
            <a:ln>
              <a:noFill/>
            </a:ln>
          </p:spPr>
        </p:pic>
        <p:pic>
          <p:nvPicPr>
            <p:cNvPr id="28" name="Picture 2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539989" y="2957998"/>
              <a:ext cx="396908" cy="396908"/>
            </a:xfrm>
            <a:prstGeom prst="rect">
              <a:avLst/>
            </a:prstGeom>
            <a:ln>
              <a:noFill/>
            </a:ln>
          </p:spPr>
        </p:pic>
        <p:pic>
          <p:nvPicPr>
            <p:cNvPr id="29" name="Picture 28"/>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688664" y="1836736"/>
              <a:ext cx="396908" cy="396908"/>
            </a:xfrm>
            <a:prstGeom prst="rect">
              <a:avLst/>
            </a:prstGeom>
            <a:ln>
              <a:noFill/>
            </a:ln>
          </p:spPr>
        </p:pic>
      </p:grpSp>
      <p:sp>
        <p:nvSpPr>
          <p:cNvPr id="34" name="Rectangle 33"/>
          <p:cNvSpPr/>
          <p:nvPr/>
        </p:nvSpPr>
        <p:spPr>
          <a:xfrm>
            <a:off x="816406" y="271297"/>
            <a:ext cx="8073235" cy="590931"/>
          </a:xfrm>
          <a:prstGeom prst="rect">
            <a:avLst/>
          </a:prstGeom>
        </p:spPr>
        <p:txBody>
          <a:bodyPr wrap="square">
            <a:spAutoFit/>
          </a:bodyPr>
          <a:lstStyle/>
          <a:p>
            <a:pPr defTabSz="685800">
              <a:lnSpc>
                <a:spcPct val="90000"/>
              </a:lnSpc>
              <a:spcBef>
                <a:spcPct val="0"/>
              </a:spcBef>
            </a:pPr>
            <a:r>
              <a:rPr lang="en-US" b="1" dirty="0" smtClean="0">
                <a:solidFill>
                  <a:srgbClr val="00ACD4"/>
                </a:solidFill>
                <a:latin typeface="Arial" panose="020B0604020202020204" pitchFamily="34" charset="0"/>
                <a:ea typeface="+mj-ea"/>
                <a:cs typeface="Arial" panose="020B0604020202020204" pitchFamily="34" charset="0"/>
              </a:rPr>
              <a:t>Mobile money agents have played a key role in driving customer adoption and enhancing financial inclusion in Sub-Saharan Africa.</a:t>
            </a:r>
            <a:endParaRPr lang="en-US" b="1" dirty="0">
              <a:solidFill>
                <a:srgbClr val="00ACD4"/>
              </a:solidFill>
              <a:latin typeface="Arial" panose="020B0604020202020204" pitchFamily="34" charset="0"/>
              <a:ea typeface="+mj-ea"/>
              <a:cs typeface="Arial" panose="020B0604020202020204" pitchFamily="34" charset="0"/>
            </a:endParaRPr>
          </a:p>
        </p:txBody>
      </p:sp>
      <p:sp>
        <p:nvSpPr>
          <p:cNvPr id="36" name="TextBox 35"/>
          <p:cNvSpPr txBox="1"/>
          <p:nvPr/>
        </p:nvSpPr>
        <p:spPr>
          <a:xfrm>
            <a:off x="6368841" y="1139102"/>
            <a:ext cx="2286000" cy="369332"/>
          </a:xfrm>
          <a:prstGeom prst="rect">
            <a:avLst/>
          </a:prstGeom>
          <a:solidFill>
            <a:srgbClr val="FF7C80"/>
          </a:solidFill>
        </p:spPr>
        <p:txBody>
          <a:bodyPr wrap="square" rtlCol="0">
            <a:spAutoFit/>
          </a:bodyPr>
          <a:lstStyle/>
          <a:p>
            <a:r>
              <a:rPr lang="en-GB" b="1" dirty="0" smtClean="0">
                <a:solidFill>
                  <a:srgbClr val="000000"/>
                </a:solidFill>
                <a:latin typeface="Arial" panose="020B0604020202020204" pitchFamily="34" charset="0"/>
                <a:cs typeface="Arial" panose="020B0604020202020204" pitchFamily="34" charset="0"/>
              </a:rPr>
              <a:t>19k </a:t>
            </a:r>
            <a:r>
              <a:rPr lang="en-GB" sz="1200" dirty="0">
                <a:solidFill>
                  <a:srgbClr val="000000"/>
                </a:solidFill>
                <a:latin typeface="Arial" panose="020B0604020202020204" pitchFamily="34" charset="0"/>
                <a:cs typeface="Arial" panose="020B0604020202020204" pitchFamily="34" charset="0"/>
              </a:rPr>
              <a:t>b</a:t>
            </a:r>
            <a:r>
              <a:rPr lang="en-GB" sz="1200" dirty="0" smtClean="0">
                <a:solidFill>
                  <a:srgbClr val="000000"/>
                </a:solidFill>
                <a:latin typeface="Arial" panose="020B0604020202020204" pitchFamily="34" charset="0"/>
                <a:cs typeface="Arial" panose="020B0604020202020204" pitchFamily="34" charset="0"/>
              </a:rPr>
              <a:t>ank branches</a:t>
            </a:r>
            <a:r>
              <a:rPr lang="en-GB" sz="1000" baseline="30000" dirty="0" smtClean="0">
                <a:solidFill>
                  <a:srgbClr val="000000"/>
                </a:solidFill>
                <a:latin typeface="Arial" panose="020B0604020202020204" pitchFamily="34" charset="0"/>
                <a:cs typeface="Arial" panose="020B0604020202020204" pitchFamily="34" charset="0"/>
              </a:rPr>
              <a:t>1</a:t>
            </a:r>
            <a:endParaRPr lang="en-GB" sz="800" baseline="30000" dirty="0">
              <a:latin typeface="Arial" panose="020B0604020202020204" pitchFamily="34" charset="0"/>
              <a:cs typeface="Arial" panose="020B0604020202020204" pitchFamily="34" charset="0"/>
            </a:endParaRPr>
          </a:p>
        </p:txBody>
      </p:sp>
      <p:sp>
        <p:nvSpPr>
          <p:cNvPr id="37" name="TextBox 36"/>
          <p:cNvSpPr txBox="1"/>
          <p:nvPr/>
        </p:nvSpPr>
        <p:spPr>
          <a:xfrm>
            <a:off x="853788" y="1139102"/>
            <a:ext cx="2286000" cy="369332"/>
          </a:xfrm>
          <a:prstGeom prst="rect">
            <a:avLst/>
          </a:prstGeom>
          <a:solidFill>
            <a:srgbClr val="E3F5FA"/>
          </a:solidFill>
        </p:spPr>
        <p:txBody>
          <a:bodyPr wrap="square" rtlCol="0">
            <a:spAutoFit/>
          </a:bodyPr>
          <a:lstStyle/>
          <a:p>
            <a:r>
              <a:rPr lang="en-GB" b="1" dirty="0" smtClean="0">
                <a:solidFill>
                  <a:srgbClr val="000000"/>
                </a:solidFill>
                <a:latin typeface="Arial" panose="020B0604020202020204" pitchFamily="34" charset="0"/>
                <a:cs typeface="Arial" panose="020B0604020202020204" pitchFamily="34" charset="0"/>
              </a:rPr>
              <a:t>1.4 </a:t>
            </a:r>
            <a:r>
              <a:rPr lang="en-GB" b="1" dirty="0">
                <a:solidFill>
                  <a:srgbClr val="000000"/>
                </a:solidFill>
                <a:latin typeface="Arial" panose="020B0604020202020204" pitchFamily="34" charset="0"/>
                <a:cs typeface="Arial" panose="020B0604020202020204" pitchFamily="34" charset="0"/>
              </a:rPr>
              <a:t>million </a:t>
            </a:r>
            <a:r>
              <a:rPr lang="en-GB" sz="1200" dirty="0">
                <a:solidFill>
                  <a:srgbClr val="000000"/>
                </a:solidFill>
                <a:latin typeface="Arial" panose="020B0604020202020204" pitchFamily="34" charset="0"/>
                <a:cs typeface="Arial" panose="020B0604020202020204" pitchFamily="34" charset="0"/>
              </a:rPr>
              <a:t>active agents</a:t>
            </a:r>
            <a:endParaRPr lang="en-GB" sz="1200" dirty="0">
              <a:latin typeface="Arial" panose="020B0604020202020204" pitchFamily="34" charset="0"/>
              <a:cs typeface="Arial" panose="020B0604020202020204" pitchFamily="34" charset="0"/>
            </a:endParaRPr>
          </a:p>
        </p:txBody>
      </p:sp>
      <p:sp>
        <p:nvSpPr>
          <p:cNvPr id="38" name="TextBox 37"/>
          <p:cNvSpPr txBox="1"/>
          <p:nvPr/>
        </p:nvSpPr>
        <p:spPr>
          <a:xfrm>
            <a:off x="3618873" y="1139102"/>
            <a:ext cx="2286000" cy="369332"/>
          </a:xfrm>
          <a:prstGeom prst="rect">
            <a:avLst/>
          </a:prstGeom>
          <a:solidFill>
            <a:srgbClr val="FEE4AB"/>
          </a:solidFill>
        </p:spPr>
        <p:txBody>
          <a:bodyPr wrap="square" rtlCol="0">
            <a:spAutoFit/>
          </a:bodyPr>
          <a:lstStyle/>
          <a:p>
            <a:r>
              <a:rPr lang="en-GB" b="1" dirty="0" smtClean="0">
                <a:solidFill>
                  <a:srgbClr val="000000"/>
                </a:solidFill>
                <a:latin typeface="Arial" panose="020B0604020202020204" pitchFamily="34" charset="0"/>
                <a:cs typeface="Arial" panose="020B0604020202020204" pitchFamily="34" charset="0"/>
              </a:rPr>
              <a:t>58k </a:t>
            </a:r>
            <a:r>
              <a:rPr lang="en-GB" sz="1200" dirty="0" smtClean="0">
                <a:solidFill>
                  <a:srgbClr val="000000"/>
                </a:solidFill>
                <a:latin typeface="Arial" panose="020B0604020202020204" pitchFamily="34" charset="0"/>
                <a:cs typeface="Arial" panose="020B0604020202020204" pitchFamily="34" charset="0"/>
              </a:rPr>
              <a:t>ATMs</a:t>
            </a:r>
            <a:r>
              <a:rPr lang="en-GB" sz="1200" baseline="30000" dirty="0" smtClean="0">
                <a:solidFill>
                  <a:srgbClr val="000000"/>
                </a:solidFill>
                <a:latin typeface="Arial" panose="020B0604020202020204" pitchFamily="34" charset="0"/>
                <a:cs typeface="Arial" panose="020B0604020202020204" pitchFamily="34" charset="0"/>
              </a:rPr>
              <a:t>1</a:t>
            </a:r>
            <a:endParaRPr lang="en-GB" sz="1000" baseline="30000" dirty="0">
              <a:latin typeface="Arial" panose="020B0604020202020204" pitchFamily="34" charset="0"/>
              <a:cs typeface="Arial" panose="020B0604020202020204" pitchFamily="34" charset="0"/>
            </a:endParaRPr>
          </a:p>
        </p:txBody>
      </p:sp>
      <p:grpSp>
        <p:nvGrpSpPr>
          <p:cNvPr id="43" name="Group 42"/>
          <p:cNvGrpSpPr/>
          <p:nvPr/>
        </p:nvGrpSpPr>
        <p:grpSpPr>
          <a:xfrm>
            <a:off x="6862454" y="2032484"/>
            <a:ext cx="1296802" cy="1425818"/>
            <a:chOff x="6056205" y="1576607"/>
            <a:chExt cx="1433210" cy="1510322"/>
          </a:xfrm>
        </p:grpSpPr>
        <p:sp>
          <p:nvSpPr>
            <p:cNvPr id="30" name="Isosceles Triangle 29"/>
            <p:cNvSpPr/>
            <p:nvPr/>
          </p:nvSpPr>
          <p:spPr>
            <a:xfrm>
              <a:off x="6376587" y="1942264"/>
              <a:ext cx="777177" cy="953515"/>
            </a:xfrm>
            <a:prstGeom prst="triangle">
              <a:avLst/>
            </a:prstGeom>
            <a:noFill/>
            <a:ln>
              <a:solidFill>
                <a:srgbClr val="E40E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2" name="Picture 3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6056205" y="2704628"/>
              <a:ext cx="382301" cy="382301"/>
            </a:xfrm>
            <a:prstGeom prst="rect">
              <a:avLst/>
            </a:prstGeom>
            <a:ln>
              <a:noFill/>
            </a:ln>
          </p:spPr>
        </p:pic>
        <p:pic>
          <p:nvPicPr>
            <p:cNvPr id="39" name="Picture 38"/>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6598730" y="1576607"/>
              <a:ext cx="382301" cy="382301"/>
            </a:xfrm>
            <a:prstGeom prst="rect">
              <a:avLst/>
            </a:prstGeom>
            <a:ln>
              <a:noFill/>
            </a:ln>
          </p:spPr>
        </p:pic>
        <p:pic>
          <p:nvPicPr>
            <p:cNvPr id="40" name="Picture 39"/>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107114" y="2704628"/>
              <a:ext cx="382301" cy="382301"/>
            </a:xfrm>
            <a:prstGeom prst="rect">
              <a:avLst/>
            </a:prstGeom>
            <a:ln>
              <a:noFill/>
            </a:ln>
          </p:spPr>
        </p:pic>
      </p:grpSp>
      <p:sp>
        <p:nvSpPr>
          <p:cNvPr id="44" name="Rectangle 43"/>
          <p:cNvSpPr/>
          <p:nvPr/>
        </p:nvSpPr>
        <p:spPr>
          <a:xfrm>
            <a:off x="597261" y="4173750"/>
            <a:ext cx="2645132" cy="483692"/>
          </a:xfrm>
          <a:prstGeom prst="rect">
            <a:avLst/>
          </a:prstGeom>
          <a:solidFill>
            <a:srgbClr val="E3F5FA"/>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1100" b="1" dirty="0" smtClean="0">
                <a:solidFill>
                  <a:srgbClr val="000000"/>
                </a:solidFill>
                <a:latin typeface="Arial" panose="020B0604020202020204" pitchFamily="34" charset="0"/>
                <a:cs typeface="Arial" panose="020B0604020202020204" pitchFamily="34" charset="0"/>
              </a:rPr>
              <a:t>Very high density </a:t>
            </a:r>
            <a:r>
              <a:rPr lang="en-GB" sz="1100" dirty="0" smtClean="0">
                <a:solidFill>
                  <a:srgbClr val="000000"/>
                </a:solidFill>
                <a:latin typeface="Arial" panose="020B0604020202020204" pitchFamily="34" charset="0"/>
                <a:cs typeface="Arial" panose="020B0604020202020204" pitchFamily="34" charset="0"/>
              </a:rPr>
              <a:t>agent network with </a:t>
            </a:r>
            <a:r>
              <a:rPr lang="en-GB" sz="1100" b="1" dirty="0" smtClean="0">
                <a:solidFill>
                  <a:srgbClr val="000000"/>
                </a:solidFill>
                <a:latin typeface="Arial" panose="020B0604020202020204" pitchFamily="34" charset="0"/>
                <a:cs typeface="Arial" panose="020B0604020202020204" pitchFamily="34" charset="0"/>
              </a:rPr>
              <a:t>60 agent outlets </a:t>
            </a:r>
            <a:r>
              <a:rPr lang="en-GB" sz="1100" dirty="0" smtClean="0">
                <a:solidFill>
                  <a:srgbClr val="000000"/>
                </a:solidFill>
                <a:latin typeface="Arial" panose="020B0604020202020204" pitchFamily="34" charset="0"/>
                <a:cs typeface="Arial" panose="020B0604020202020204" pitchFamily="34" charset="0"/>
              </a:rPr>
              <a:t>per 1000</a:t>
            </a:r>
            <a:r>
              <a:rPr lang="en-GB" sz="1100" b="1" dirty="0" smtClean="0">
                <a:solidFill>
                  <a:srgbClr val="000000"/>
                </a:solidFill>
                <a:latin typeface="Arial" panose="020B0604020202020204" pitchFamily="34" charset="0"/>
                <a:cs typeface="Arial" panose="020B0604020202020204" pitchFamily="34" charset="0"/>
              </a:rPr>
              <a:t> </a:t>
            </a:r>
            <a:r>
              <a:rPr lang="en-GB" sz="1100" dirty="0">
                <a:solidFill>
                  <a:srgbClr val="000000"/>
                </a:solidFill>
                <a:latin typeface="Arial" panose="020B0604020202020204" pitchFamily="34" charset="0"/>
                <a:cs typeface="Arial" panose="020B0604020202020204" pitchFamily="34" charset="0"/>
              </a:rPr>
              <a:t>km</a:t>
            </a:r>
            <a:r>
              <a:rPr lang="en-GB" sz="1100" baseline="30000" dirty="0">
                <a:solidFill>
                  <a:srgbClr val="000000"/>
                </a:solidFill>
                <a:latin typeface="Arial" panose="020B0604020202020204" pitchFamily="34" charset="0"/>
                <a:cs typeface="Arial" panose="020B0604020202020204" pitchFamily="34" charset="0"/>
              </a:rPr>
              <a:t>2</a:t>
            </a:r>
            <a:endParaRPr lang="en-GB" sz="1100" dirty="0">
              <a:solidFill>
                <a:srgbClr val="000000"/>
              </a:solidFill>
              <a:latin typeface="Arial" panose="020B0604020202020204" pitchFamily="34" charset="0"/>
              <a:cs typeface="Arial" panose="020B0604020202020204" pitchFamily="34" charset="0"/>
            </a:endParaRPr>
          </a:p>
        </p:txBody>
      </p:sp>
      <p:sp>
        <p:nvSpPr>
          <p:cNvPr id="45" name="Rectangle 44"/>
          <p:cNvSpPr/>
          <p:nvPr/>
        </p:nvSpPr>
        <p:spPr>
          <a:xfrm>
            <a:off x="3488342" y="4173750"/>
            <a:ext cx="2645132" cy="483692"/>
          </a:xfrm>
          <a:prstGeom prst="rect">
            <a:avLst/>
          </a:prstGeom>
          <a:solidFill>
            <a:srgbClr val="FEE4A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1100" b="1" dirty="0" smtClean="0">
                <a:solidFill>
                  <a:srgbClr val="000000"/>
                </a:solidFill>
                <a:latin typeface="Arial" panose="020B0604020202020204" pitchFamily="34" charset="0"/>
                <a:cs typeface="Arial" panose="020B0604020202020204" pitchFamily="34" charset="0"/>
              </a:rPr>
              <a:t>Low density </a:t>
            </a:r>
            <a:r>
              <a:rPr lang="en-GB" sz="1100" dirty="0" smtClean="0">
                <a:solidFill>
                  <a:srgbClr val="000000"/>
                </a:solidFill>
                <a:latin typeface="Arial" panose="020B0604020202020204" pitchFamily="34" charset="0"/>
                <a:cs typeface="Arial" panose="020B0604020202020204" pitchFamily="34" charset="0"/>
              </a:rPr>
              <a:t>ATM network with </a:t>
            </a:r>
            <a:r>
              <a:rPr lang="en-GB" sz="1100" b="1" dirty="0" smtClean="0">
                <a:solidFill>
                  <a:srgbClr val="000000"/>
                </a:solidFill>
                <a:latin typeface="Arial" panose="020B0604020202020204" pitchFamily="34" charset="0"/>
                <a:cs typeface="Arial" panose="020B0604020202020204" pitchFamily="34" charset="0"/>
              </a:rPr>
              <a:t>2 </a:t>
            </a:r>
            <a:r>
              <a:rPr lang="en-GB" sz="1100" b="1" dirty="0">
                <a:solidFill>
                  <a:srgbClr val="000000"/>
                </a:solidFill>
                <a:latin typeface="Arial" panose="020B0604020202020204" pitchFamily="34" charset="0"/>
                <a:cs typeface="Arial" panose="020B0604020202020204" pitchFamily="34" charset="0"/>
              </a:rPr>
              <a:t>ATMs</a:t>
            </a:r>
            <a:r>
              <a:rPr lang="en-GB" sz="1100" dirty="0">
                <a:solidFill>
                  <a:srgbClr val="000000"/>
                </a:solidFill>
                <a:latin typeface="Arial" panose="020B0604020202020204" pitchFamily="34" charset="0"/>
                <a:cs typeface="Arial" panose="020B0604020202020204" pitchFamily="34" charset="0"/>
              </a:rPr>
              <a:t> per 1000 km</a:t>
            </a:r>
            <a:r>
              <a:rPr lang="en-GB" sz="1100" baseline="30000" dirty="0">
                <a:solidFill>
                  <a:srgbClr val="000000"/>
                </a:solidFill>
                <a:latin typeface="Arial" panose="020B0604020202020204" pitchFamily="34" charset="0"/>
                <a:cs typeface="Arial" panose="020B0604020202020204" pitchFamily="34" charset="0"/>
              </a:rPr>
              <a:t>2</a:t>
            </a:r>
            <a:endParaRPr lang="en-GB" sz="1100" dirty="0">
              <a:solidFill>
                <a:srgbClr val="000000"/>
              </a:solidFill>
              <a:latin typeface="Arial" panose="020B0604020202020204" pitchFamily="34" charset="0"/>
              <a:cs typeface="Arial" panose="020B0604020202020204" pitchFamily="34" charset="0"/>
            </a:endParaRPr>
          </a:p>
        </p:txBody>
      </p:sp>
      <p:sp>
        <p:nvSpPr>
          <p:cNvPr id="46" name="Rectangle 45"/>
          <p:cNvSpPr/>
          <p:nvPr/>
        </p:nvSpPr>
        <p:spPr>
          <a:xfrm>
            <a:off x="6318530" y="4173750"/>
            <a:ext cx="2645132" cy="483692"/>
          </a:xfrm>
          <a:prstGeom prst="rect">
            <a:avLst/>
          </a:prstGeom>
          <a:solidFill>
            <a:srgbClr val="FF7C8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1100" b="1" dirty="0" smtClean="0">
                <a:solidFill>
                  <a:srgbClr val="000000"/>
                </a:solidFill>
                <a:latin typeface="Arial" panose="020B0604020202020204" pitchFamily="34" charset="0"/>
                <a:cs typeface="Arial" panose="020B0604020202020204" pitchFamily="34" charset="0"/>
              </a:rPr>
              <a:t>Very low density </a:t>
            </a:r>
            <a:r>
              <a:rPr lang="en-GB" sz="1100" dirty="0" smtClean="0">
                <a:solidFill>
                  <a:srgbClr val="000000"/>
                </a:solidFill>
                <a:latin typeface="Arial" panose="020B0604020202020204" pitchFamily="34" charset="0"/>
                <a:cs typeface="Arial" panose="020B0604020202020204" pitchFamily="34" charset="0"/>
              </a:rPr>
              <a:t>bank branch network with </a:t>
            </a:r>
            <a:r>
              <a:rPr lang="en-GB" sz="1100" b="1" dirty="0" smtClean="0">
                <a:solidFill>
                  <a:srgbClr val="000000"/>
                </a:solidFill>
                <a:latin typeface="Arial" panose="020B0604020202020204" pitchFamily="34" charset="0"/>
                <a:cs typeface="Arial" panose="020B0604020202020204" pitchFamily="34" charset="0"/>
              </a:rPr>
              <a:t>1 branch </a:t>
            </a:r>
            <a:r>
              <a:rPr lang="en-GB" sz="1100" dirty="0">
                <a:solidFill>
                  <a:srgbClr val="000000"/>
                </a:solidFill>
                <a:latin typeface="Arial" panose="020B0604020202020204" pitchFamily="34" charset="0"/>
                <a:cs typeface="Arial" panose="020B0604020202020204" pitchFamily="34" charset="0"/>
              </a:rPr>
              <a:t>per 1000 km</a:t>
            </a:r>
            <a:r>
              <a:rPr lang="en-GB" sz="1100" baseline="30000" dirty="0">
                <a:solidFill>
                  <a:srgbClr val="000000"/>
                </a:solidFill>
                <a:latin typeface="Arial" panose="020B0604020202020204" pitchFamily="34" charset="0"/>
                <a:cs typeface="Arial" panose="020B0604020202020204" pitchFamily="34" charset="0"/>
              </a:rPr>
              <a:t>2</a:t>
            </a:r>
            <a:endParaRPr lang="en-GB" sz="1100" dirty="0">
              <a:solidFill>
                <a:srgbClr val="000000"/>
              </a:solidFill>
              <a:latin typeface="Arial" panose="020B0604020202020204" pitchFamily="34" charset="0"/>
              <a:cs typeface="Arial" panose="020B0604020202020204" pitchFamily="34" charset="0"/>
            </a:endParaRPr>
          </a:p>
        </p:txBody>
      </p:sp>
      <p:sp>
        <p:nvSpPr>
          <p:cNvPr id="47" name="Rectangle 46"/>
          <p:cNvSpPr/>
          <p:nvPr/>
        </p:nvSpPr>
        <p:spPr>
          <a:xfrm>
            <a:off x="449164" y="4768759"/>
            <a:ext cx="2681400" cy="301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88" dirty="0" smtClean="0">
                <a:solidFill>
                  <a:schemeClr val="tx1"/>
                </a:solidFill>
                <a:latin typeface="Arial" panose="020B0604020202020204" pitchFamily="34" charset="0"/>
                <a:cs typeface="Arial" panose="020B0604020202020204" pitchFamily="34" charset="0"/>
              </a:rPr>
              <a:t>1</a:t>
            </a:r>
            <a:r>
              <a:rPr lang="en-GB" sz="788" dirty="0">
                <a:solidFill>
                  <a:schemeClr val="tx1"/>
                </a:solidFill>
                <a:latin typeface="Arial" panose="020B0604020202020204" pitchFamily="34" charset="0"/>
                <a:cs typeface="Arial" panose="020B0604020202020204" pitchFamily="34" charset="0"/>
              </a:rPr>
              <a:t>. Data from IMF Financial Access Survey</a:t>
            </a:r>
          </a:p>
        </p:txBody>
      </p:sp>
      <p:pic>
        <p:nvPicPr>
          <p:cNvPr id="49" name="Picture 48">
            <a:extLst>
              <a:ext uri="{FF2B5EF4-FFF2-40B4-BE49-F238E27FC236}">
                <a16:creationId xmlns:a16="http://schemas.microsoft.com/office/drawing/2014/main" id="{D1BBFB28-B1AF-C249-BB63-0D06D590D12F}"/>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47323" y="275686"/>
            <a:ext cx="534416" cy="534416"/>
          </a:xfrm>
          <a:prstGeom prst="rect">
            <a:avLst/>
          </a:prstGeom>
        </p:spPr>
      </p:pic>
    </p:spTree>
    <p:extLst>
      <p:ext uri="{BB962C8B-B14F-4D97-AF65-F5344CB8AC3E}">
        <p14:creationId xmlns:p14="http://schemas.microsoft.com/office/powerpoint/2010/main" val="28486628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8749" y="3421510"/>
            <a:ext cx="2503619" cy="935831"/>
          </a:xfrm>
          <a:prstGeom prst="rect">
            <a:avLst/>
          </a:prstGeom>
          <a:solidFill>
            <a:srgbClr val="00A6C9">
              <a:alpha val="21000"/>
            </a:srgbClr>
          </a:solidFill>
          <a:ln>
            <a:solidFill>
              <a:srgbClr val="00A6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dirty="0"/>
          </a:p>
        </p:txBody>
      </p:sp>
      <p:sp>
        <p:nvSpPr>
          <p:cNvPr id="5" name="Rectangle 4"/>
          <p:cNvSpPr/>
          <p:nvPr>
            <p:custDataLst>
              <p:tags r:id="rId1"/>
            </p:custDataLst>
          </p:nvPr>
        </p:nvSpPr>
        <p:spPr bwMode="auto">
          <a:xfrm>
            <a:off x="449164" y="4391274"/>
            <a:ext cx="241102" cy="180380"/>
          </a:xfrm>
          <a:prstGeom prst="rect">
            <a:avLst/>
          </a:prstGeom>
          <a:solidFill>
            <a:srgbClr val="193C6C"/>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6" name="Rectangle 5"/>
          <p:cNvSpPr/>
          <p:nvPr>
            <p:custDataLst>
              <p:tags r:id="rId2"/>
            </p:custDataLst>
          </p:nvPr>
        </p:nvSpPr>
        <p:spPr bwMode="auto">
          <a:xfrm>
            <a:off x="449164" y="3455443"/>
            <a:ext cx="241102" cy="180380"/>
          </a:xfrm>
          <a:prstGeom prst="rect">
            <a:avLst/>
          </a:prstGeom>
          <a:solidFill>
            <a:srgbClr val="85CFE9"/>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7" name="Rectangle 6"/>
          <p:cNvSpPr/>
          <p:nvPr>
            <p:custDataLst>
              <p:tags r:id="rId3"/>
            </p:custDataLst>
          </p:nvPr>
        </p:nvSpPr>
        <p:spPr bwMode="auto">
          <a:xfrm>
            <a:off x="449164" y="3221485"/>
            <a:ext cx="241102" cy="180380"/>
          </a:xfrm>
          <a:prstGeom prst="rect">
            <a:avLst/>
          </a:prstGeom>
          <a:solidFill>
            <a:srgbClr val="FFCC66"/>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8" name="Rectangle 7"/>
          <p:cNvSpPr/>
          <p:nvPr>
            <p:custDataLst>
              <p:tags r:id="rId4"/>
            </p:custDataLst>
          </p:nvPr>
        </p:nvSpPr>
        <p:spPr bwMode="auto">
          <a:xfrm>
            <a:off x="449164" y="3689401"/>
            <a:ext cx="241102" cy="180380"/>
          </a:xfrm>
          <a:prstGeom prst="rect">
            <a:avLst/>
          </a:prstGeom>
          <a:solidFill>
            <a:srgbClr val="00568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9" name="Rectangle 8"/>
          <p:cNvSpPr/>
          <p:nvPr>
            <p:custDataLst>
              <p:tags r:id="rId5"/>
            </p:custDataLst>
          </p:nvPr>
        </p:nvSpPr>
        <p:spPr bwMode="auto">
          <a:xfrm>
            <a:off x="449164" y="3923358"/>
            <a:ext cx="241102" cy="180380"/>
          </a:xfrm>
          <a:prstGeom prst="rect">
            <a:avLst/>
          </a:prstGeom>
          <a:solidFill>
            <a:srgbClr val="FF6600"/>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10" name="Rectangle 9"/>
          <p:cNvSpPr/>
          <p:nvPr>
            <p:custDataLst>
              <p:tags r:id="rId6"/>
            </p:custDataLst>
          </p:nvPr>
        </p:nvSpPr>
        <p:spPr bwMode="auto">
          <a:xfrm>
            <a:off x="449164" y="4157316"/>
            <a:ext cx="241102" cy="180380"/>
          </a:xfrm>
          <a:prstGeom prst="rect">
            <a:avLst/>
          </a:prstGeom>
          <a:solidFill>
            <a:srgbClr val="A9D18E"/>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sp>
        <p:nvSpPr>
          <p:cNvPr id="11" name="Rectangle 10"/>
          <p:cNvSpPr/>
          <p:nvPr>
            <p:custDataLst>
              <p:tags r:id="rId7"/>
            </p:custDataLst>
          </p:nvPr>
        </p:nvSpPr>
        <p:spPr bwMode="auto">
          <a:xfrm>
            <a:off x="718841" y="3918001"/>
            <a:ext cx="1860054" cy="20538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EF9280AF-A2B2-4E55-8957-E619D7D0E701}" type="datetime'In''t''e''''rnat''''i''''''''onal ''Remit''t''''a''''n''c''e'">
              <a:rPr lang="en-GB" altLang="en-US" sz="1013" smtClean="0">
                <a:solidFill>
                  <a:schemeClr val="tx1"/>
                </a:solidFill>
                <a:latin typeface="Arial" panose="020B0604020202020204" pitchFamily="34" charset="0"/>
                <a:ea typeface="+mj-ea"/>
                <a:cs typeface="Arial" panose="020B0604020202020204" pitchFamily="34" charset="0"/>
                <a:sym typeface="+mj-lt"/>
              </a:rPr>
              <a:pPr>
                <a:spcBef>
                  <a:spcPct val="0"/>
                </a:spcBef>
                <a:spcAft>
                  <a:spcPct val="0"/>
                </a:spcAft>
              </a:pPr>
              <a:t>International Remittance</a:t>
            </a:fld>
            <a:r>
              <a:rPr lang="en-GB" altLang="en-US" sz="1013" dirty="0" smtClean="0">
                <a:solidFill>
                  <a:schemeClr val="tx1"/>
                </a:solidFill>
                <a:latin typeface="Arial" panose="020B0604020202020204" pitchFamily="34" charset="0"/>
                <a:ea typeface="+mj-ea"/>
                <a:cs typeface="Arial" panose="020B0604020202020204" pitchFamily="34" charset="0"/>
                <a:sym typeface="+mj-lt"/>
              </a:rPr>
              <a:t>s</a:t>
            </a:r>
            <a:endParaRPr lang="en-GB" sz="1013" dirty="0">
              <a:solidFill>
                <a:schemeClr val="tx1"/>
              </a:solidFill>
              <a:latin typeface="Arial" panose="020B0604020202020204" pitchFamily="34" charset="0"/>
              <a:ea typeface="+mj-ea"/>
              <a:cs typeface="Arial" panose="020B0604020202020204" pitchFamily="34" charset="0"/>
              <a:sym typeface="+mj-lt"/>
            </a:endParaRPr>
          </a:p>
        </p:txBody>
      </p:sp>
      <p:sp>
        <p:nvSpPr>
          <p:cNvPr id="12" name="Rectangle 11"/>
          <p:cNvSpPr/>
          <p:nvPr>
            <p:custDataLst>
              <p:tags r:id="rId8"/>
            </p:custDataLst>
          </p:nvPr>
        </p:nvSpPr>
        <p:spPr bwMode="auto">
          <a:xfrm>
            <a:off x="718840" y="3216127"/>
            <a:ext cx="1067991" cy="20538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EC0A883C-88B6-4DB4-90CE-9BF5A0D1FDA6}" type="datetime'''''A''''''''''i''rti''''''''m''e ''t''''op''''-''''''''u''p'">
              <a:rPr lang="en-GB" altLang="en-US" sz="1013" smtClean="0">
                <a:solidFill>
                  <a:schemeClr val="tx1"/>
                </a:solidFill>
                <a:latin typeface="Arial" panose="020B0604020202020204" pitchFamily="34" charset="0"/>
                <a:ea typeface="+mj-ea"/>
                <a:cs typeface="Arial" panose="020B0604020202020204" pitchFamily="34" charset="0"/>
                <a:sym typeface="+mj-lt"/>
              </a:rPr>
              <a:pPr>
                <a:spcBef>
                  <a:spcPct val="0"/>
                </a:spcBef>
                <a:spcAft>
                  <a:spcPct val="0"/>
                </a:spcAft>
              </a:pPr>
              <a:t>Airtime top-up</a:t>
            </a:fld>
            <a:r>
              <a:rPr lang="en-GB" altLang="en-US" sz="1013" dirty="0" smtClean="0">
                <a:solidFill>
                  <a:schemeClr val="tx1"/>
                </a:solidFill>
                <a:latin typeface="Arial" panose="020B0604020202020204" pitchFamily="34" charset="0"/>
                <a:ea typeface="+mj-ea"/>
                <a:cs typeface="Arial" panose="020B0604020202020204" pitchFamily="34" charset="0"/>
                <a:sym typeface="+mj-lt"/>
              </a:rPr>
              <a:t>s</a:t>
            </a:r>
            <a:endParaRPr lang="en-GB" sz="1013" dirty="0">
              <a:solidFill>
                <a:schemeClr val="tx1"/>
              </a:solidFill>
              <a:latin typeface="Arial" panose="020B0604020202020204" pitchFamily="34" charset="0"/>
              <a:ea typeface="+mj-ea"/>
              <a:cs typeface="Arial" panose="020B0604020202020204" pitchFamily="34" charset="0"/>
              <a:sym typeface="+mj-lt"/>
            </a:endParaRPr>
          </a:p>
        </p:txBody>
      </p:sp>
      <p:sp>
        <p:nvSpPr>
          <p:cNvPr id="13" name="Rectangle 12"/>
          <p:cNvSpPr/>
          <p:nvPr>
            <p:custDataLst>
              <p:tags r:id="rId9"/>
            </p:custDataLst>
          </p:nvPr>
        </p:nvSpPr>
        <p:spPr bwMode="auto">
          <a:xfrm>
            <a:off x="718840" y="3450085"/>
            <a:ext cx="934939" cy="20538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403386C2-DC20-4A88-854D-530C157563AA}" type="datetime'''''''''''''Bil''l'' p''''''''a''''y''''''m''''''''ent'''">
              <a:rPr lang="en-GB" altLang="en-US" sz="1013" smtClean="0">
                <a:solidFill>
                  <a:schemeClr val="tx1"/>
                </a:solidFill>
                <a:latin typeface="Arial" panose="020B0604020202020204" pitchFamily="34" charset="0"/>
                <a:ea typeface="+mj-ea"/>
                <a:cs typeface="Arial" panose="020B0604020202020204" pitchFamily="34" charset="0"/>
                <a:sym typeface="+mj-lt"/>
              </a:rPr>
              <a:pPr>
                <a:spcBef>
                  <a:spcPct val="0"/>
                </a:spcBef>
                <a:spcAft>
                  <a:spcPct val="0"/>
                </a:spcAft>
              </a:pPr>
              <a:t>Bill payment</a:t>
            </a:fld>
            <a:r>
              <a:rPr lang="en-GB" altLang="en-US" sz="1013" dirty="0" smtClean="0">
                <a:solidFill>
                  <a:schemeClr val="tx1"/>
                </a:solidFill>
                <a:latin typeface="Arial" panose="020B0604020202020204" pitchFamily="34" charset="0"/>
                <a:ea typeface="+mj-ea"/>
                <a:cs typeface="Arial" panose="020B0604020202020204" pitchFamily="34" charset="0"/>
                <a:sym typeface="+mj-lt"/>
              </a:rPr>
              <a:t>s</a:t>
            </a:r>
            <a:endParaRPr lang="en-GB" sz="1013" dirty="0">
              <a:solidFill>
                <a:schemeClr val="tx1"/>
              </a:solidFill>
              <a:latin typeface="Arial" panose="020B0604020202020204" pitchFamily="34" charset="0"/>
              <a:ea typeface="+mj-ea"/>
              <a:cs typeface="Arial" panose="020B0604020202020204" pitchFamily="34" charset="0"/>
              <a:sym typeface="+mj-lt"/>
            </a:endParaRPr>
          </a:p>
        </p:txBody>
      </p:sp>
      <p:sp>
        <p:nvSpPr>
          <p:cNvPr id="14" name="Rectangle 13"/>
          <p:cNvSpPr/>
          <p:nvPr>
            <p:custDataLst>
              <p:tags r:id="rId10"/>
            </p:custDataLst>
          </p:nvPr>
        </p:nvSpPr>
        <p:spPr bwMode="auto">
          <a:xfrm>
            <a:off x="718840" y="3684043"/>
            <a:ext cx="1039416" cy="20538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5ABED491-7798-4523-8131-D61982C61E7D}" type="datetime'B''''''u''''''''''l''k'''''' ''''''''''''paym''''ent'''''''''">
              <a:rPr lang="en-GB" altLang="en-US" sz="1013" smtClean="0">
                <a:solidFill>
                  <a:schemeClr val="tx1"/>
                </a:solidFill>
                <a:latin typeface="Arial" panose="020B0604020202020204" pitchFamily="34" charset="0"/>
                <a:ea typeface="+mj-ea"/>
                <a:cs typeface="Arial" panose="020B0604020202020204" pitchFamily="34" charset="0"/>
                <a:sym typeface="+mj-lt"/>
              </a:rPr>
              <a:pPr>
                <a:spcBef>
                  <a:spcPct val="0"/>
                </a:spcBef>
                <a:spcAft>
                  <a:spcPct val="0"/>
                </a:spcAft>
              </a:pPr>
              <a:t>Bulk payment</a:t>
            </a:fld>
            <a:r>
              <a:rPr lang="en-GB" altLang="en-US" sz="1013" dirty="0" smtClean="0">
                <a:solidFill>
                  <a:schemeClr val="tx1"/>
                </a:solidFill>
                <a:latin typeface="Arial" panose="020B0604020202020204" pitchFamily="34" charset="0"/>
                <a:ea typeface="+mj-ea"/>
                <a:cs typeface="Arial" panose="020B0604020202020204" pitchFamily="34" charset="0"/>
                <a:sym typeface="+mj-lt"/>
              </a:rPr>
              <a:t>s</a:t>
            </a:r>
            <a:endParaRPr lang="en-GB" sz="1013" dirty="0">
              <a:solidFill>
                <a:schemeClr val="tx1"/>
              </a:solidFill>
              <a:latin typeface="Arial" panose="020B0604020202020204" pitchFamily="34" charset="0"/>
              <a:ea typeface="+mj-ea"/>
              <a:cs typeface="Arial" panose="020B0604020202020204" pitchFamily="34" charset="0"/>
              <a:sym typeface="+mj-lt"/>
            </a:endParaRPr>
          </a:p>
        </p:txBody>
      </p:sp>
      <p:sp>
        <p:nvSpPr>
          <p:cNvPr id="15" name="Rectangle 14"/>
          <p:cNvSpPr/>
          <p:nvPr>
            <p:custDataLst>
              <p:tags r:id="rId11"/>
            </p:custDataLst>
          </p:nvPr>
        </p:nvSpPr>
        <p:spPr bwMode="auto">
          <a:xfrm>
            <a:off x="718840" y="4151959"/>
            <a:ext cx="1439466" cy="20538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11E5E0DF-C97B-4C62-95FF-82C1EC1A8EFC}" type="datetime'''Me''r''''''''ch''''''an''''t'' ''Pay''me''''''''nt'''''''''">
              <a:rPr lang="en-GB" altLang="en-US" sz="1013" smtClean="0">
                <a:solidFill>
                  <a:schemeClr val="tx1"/>
                </a:solidFill>
                <a:latin typeface="Arial" panose="020B0604020202020204" pitchFamily="34" charset="0"/>
                <a:ea typeface="+mj-ea"/>
                <a:cs typeface="Arial" panose="020B0604020202020204" pitchFamily="34" charset="0"/>
                <a:sym typeface="+mj-lt"/>
              </a:rPr>
              <a:pPr>
                <a:spcBef>
                  <a:spcPct val="0"/>
                </a:spcBef>
                <a:spcAft>
                  <a:spcPct val="0"/>
                </a:spcAft>
              </a:pPr>
              <a:t>Merchant Payment</a:t>
            </a:fld>
            <a:r>
              <a:rPr lang="en-GB" altLang="en-US" sz="1013" dirty="0" smtClean="0">
                <a:solidFill>
                  <a:schemeClr val="tx1"/>
                </a:solidFill>
                <a:latin typeface="Arial" panose="020B0604020202020204" pitchFamily="34" charset="0"/>
                <a:ea typeface="+mj-ea"/>
                <a:cs typeface="Arial" panose="020B0604020202020204" pitchFamily="34" charset="0"/>
                <a:sym typeface="+mj-lt"/>
              </a:rPr>
              <a:t>s</a:t>
            </a:r>
            <a:endParaRPr lang="en-GB" sz="1013" dirty="0">
              <a:solidFill>
                <a:schemeClr val="tx1"/>
              </a:solidFill>
              <a:latin typeface="Arial" panose="020B0604020202020204" pitchFamily="34" charset="0"/>
              <a:ea typeface="+mj-ea"/>
              <a:cs typeface="Arial" panose="020B0604020202020204" pitchFamily="34" charset="0"/>
              <a:sym typeface="+mj-lt"/>
            </a:endParaRPr>
          </a:p>
        </p:txBody>
      </p:sp>
      <p:sp>
        <p:nvSpPr>
          <p:cNvPr id="16" name="Rectangle 15"/>
          <p:cNvSpPr/>
          <p:nvPr>
            <p:custDataLst>
              <p:tags r:id="rId12"/>
            </p:custDataLst>
          </p:nvPr>
        </p:nvSpPr>
        <p:spPr bwMode="auto">
          <a:xfrm>
            <a:off x="718840" y="4385916"/>
            <a:ext cx="952798" cy="20538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500F0264-5E19-4E4F-8CB1-78705509EB6E}" type="datetime'P''''''2''''P'''''''' ''t''''''ra''ns''''''''f''''e''''''''r'">
              <a:rPr lang="en-GB" altLang="en-US" sz="1013" smtClean="0">
                <a:solidFill>
                  <a:schemeClr val="tx1"/>
                </a:solidFill>
                <a:latin typeface="Arial" panose="020B0604020202020204" pitchFamily="34" charset="0"/>
                <a:ea typeface="+mj-ea"/>
                <a:cs typeface="Arial" panose="020B0604020202020204" pitchFamily="34" charset="0"/>
                <a:sym typeface="+mj-lt"/>
              </a:rPr>
              <a:pPr>
                <a:spcBef>
                  <a:spcPct val="0"/>
                </a:spcBef>
                <a:spcAft>
                  <a:spcPct val="0"/>
                </a:spcAft>
              </a:pPr>
              <a:t>P2P transfer</a:t>
            </a:fld>
            <a:r>
              <a:rPr lang="en-GB" altLang="en-US" sz="1013" dirty="0" smtClean="0">
                <a:solidFill>
                  <a:schemeClr val="tx1"/>
                </a:solidFill>
                <a:latin typeface="Arial" panose="020B0604020202020204" pitchFamily="34" charset="0"/>
                <a:ea typeface="+mj-ea"/>
                <a:cs typeface="Arial" panose="020B0604020202020204" pitchFamily="34" charset="0"/>
                <a:sym typeface="+mj-lt"/>
              </a:rPr>
              <a:t>s</a:t>
            </a:r>
            <a:endParaRPr lang="en-GB" sz="1013" dirty="0">
              <a:solidFill>
                <a:schemeClr val="tx1"/>
              </a:solidFill>
              <a:latin typeface="Arial" panose="020B0604020202020204" pitchFamily="34" charset="0"/>
              <a:ea typeface="+mj-ea"/>
              <a:cs typeface="Arial" panose="020B0604020202020204" pitchFamily="34" charset="0"/>
              <a:sym typeface="+mj-lt"/>
            </a:endParaRPr>
          </a:p>
        </p:txBody>
      </p:sp>
      <p:graphicFrame>
        <p:nvGraphicFramePr>
          <p:cNvPr id="17" name="Chart 16"/>
          <p:cNvGraphicFramePr/>
          <p:nvPr>
            <p:custDataLst>
              <p:tags r:id="rId13"/>
            </p:custDataLst>
            <p:extLst>
              <p:ext uri="{D42A27DB-BD31-4B8C-83A1-F6EECF244321}">
                <p14:modId xmlns:p14="http://schemas.microsoft.com/office/powerpoint/2010/main" val="1332990091"/>
              </p:ext>
            </p:extLst>
          </p:nvPr>
        </p:nvGraphicFramePr>
        <p:xfrm>
          <a:off x="3716536" y="3150940"/>
          <a:ext cx="2329756" cy="1555552"/>
        </p:xfrm>
        <a:graphic>
          <a:graphicData uri="http://schemas.openxmlformats.org/drawingml/2006/chart">
            <c:chart xmlns:c="http://schemas.openxmlformats.org/drawingml/2006/chart" xmlns:r="http://schemas.openxmlformats.org/officeDocument/2006/relationships" r:id="rId26"/>
          </a:graphicData>
        </a:graphic>
      </p:graphicFrame>
      <p:sp>
        <p:nvSpPr>
          <p:cNvPr id="18" name="Rectangle 17"/>
          <p:cNvSpPr/>
          <p:nvPr>
            <p:custDataLst>
              <p:tags r:id="rId14"/>
            </p:custDataLst>
          </p:nvPr>
        </p:nvSpPr>
        <p:spPr bwMode="gray">
          <a:xfrm>
            <a:off x="4584983" y="4391274"/>
            <a:ext cx="401836" cy="139303"/>
          </a:xfrm>
          <a:prstGeom prst="rect">
            <a:avLst/>
          </a:prstGeom>
          <a:solidFill>
            <a:srgbClr val="193C6C"/>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altLang="en-US" sz="1013" dirty="0" smtClean="0">
                <a:solidFill>
                  <a:schemeClr val="bg1"/>
                </a:solidFill>
                <a:latin typeface="Arial" panose="020B0604020202020204" pitchFamily="34" charset="0"/>
                <a:ea typeface="+mj-ea"/>
                <a:cs typeface="Arial" panose="020B0604020202020204" pitchFamily="34" charset="0"/>
                <a:sym typeface="+mj-lt"/>
              </a:rPr>
              <a:t>82.5%</a:t>
            </a:r>
            <a:endParaRPr lang="en-GB" sz="1013" dirty="0">
              <a:solidFill>
                <a:schemeClr val="bg1"/>
              </a:solidFill>
              <a:latin typeface="Arial" panose="020B0604020202020204" pitchFamily="34" charset="0"/>
              <a:ea typeface="+mj-ea"/>
              <a:cs typeface="Arial" panose="020B0604020202020204" pitchFamily="34" charset="0"/>
              <a:sym typeface="+mj-lt"/>
            </a:endParaRPr>
          </a:p>
        </p:txBody>
      </p:sp>
      <p:sp>
        <p:nvSpPr>
          <p:cNvPr id="19" name="Rectangle 18"/>
          <p:cNvSpPr/>
          <p:nvPr>
            <p:custDataLst>
              <p:tags r:id="rId15"/>
            </p:custDataLst>
          </p:nvPr>
        </p:nvSpPr>
        <p:spPr bwMode="gray">
          <a:xfrm>
            <a:off x="4633555" y="3249166"/>
            <a:ext cx="401836" cy="139303"/>
          </a:xfrm>
          <a:prstGeom prst="rect">
            <a:avLst/>
          </a:prstGeom>
          <a:solidFill>
            <a:srgbClr val="FFCC66"/>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smtClean="0">
                <a:solidFill>
                  <a:schemeClr val="tx1"/>
                </a:solidFill>
                <a:latin typeface="Arial" panose="020B0604020202020204" pitchFamily="34" charset="0"/>
                <a:ea typeface="+mj-ea"/>
                <a:cs typeface="Arial" panose="020B0604020202020204" pitchFamily="34" charset="0"/>
                <a:sym typeface="+mj-lt"/>
              </a:rPr>
              <a:t>2.2%</a:t>
            </a:r>
            <a:endParaRPr lang="en-GB" sz="1013" dirty="0">
              <a:solidFill>
                <a:schemeClr val="tx1"/>
              </a:solidFill>
              <a:latin typeface="Arial" panose="020B0604020202020204" pitchFamily="34" charset="0"/>
              <a:ea typeface="+mj-ea"/>
              <a:cs typeface="Arial" panose="020B0604020202020204" pitchFamily="34" charset="0"/>
              <a:sym typeface="+mj-lt"/>
            </a:endParaRPr>
          </a:p>
        </p:txBody>
      </p:sp>
      <p:sp>
        <p:nvSpPr>
          <p:cNvPr id="20" name="Rectangle 19"/>
          <p:cNvSpPr/>
          <p:nvPr>
            <p:custDataLst>
              <p:tags r:id="rId16"/>
            </p:custDataLst>
          </p:nvPr>
        </p:nvSpPr>
        <p:spPr bwMode="gray">
          <a:xfrm>
            <a:off x="4949463" y="3473752"/>
            <a:ext cx="330398" cy="139303"/>
          </a:xfrm>
          <a:prstGeom prst="rect">
            <a:avLst/>
          </a:prstGeom>
          <a:solidFill>
            <a:srgbClr val="85CFE9"/>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smtClean="0">
                <a:solidFill>
                  <a:schemeClr val="bg1"/>
                </a:solidFill>
                <a:latin typeface="Arial" panose="020B0604020202020204" pitchFamily="34" charset="0"/>
                <a:ea typeface="+mj-ea"/>
                <a:cs typeface="Arial" panose="020B0604020202020204" pitchFamily="34" charset="0"/>
                <a:sym typeface="+mj-lt"/>
              </a:rPr>
              <a:t>2.5%</a:t>
            </a:r>
            <a:endParaRPr lang="en-GB" sz="1013" dirty="0">
              <a:solidFill>
                <a:schemeClr val="bg1"/>
              </a:solidFill>
              <a:latin typeface="Arial" panose="020B0604020202020204" pitchFamily="34" charset="0"/>
              <a:ea typeface="+mj-ea"/>
              <a:cs typeface="Arial" panose="020B0604020202020204" pitchFamily="34" charset="0"/>
              <a:sym typeface="+mj-lt"/>
            </a:endParaRPr>
          </a:p>
        </p:txBody>
      </p:sp>
      <p:sp>
        <p:nvSpPr>
          <p:cNvPr id="21" name="Rectangle 20"/>
          <p:cNvSpPr/>
          <p:nvPr>
            <p:custDataLst>
              <p:tags r:id="rId17"/>
            </p:custDataLst>
          </p:nvPr>
        </p:nvSpPr>
        <p:spPr bwMode="gray">
          <a:xfrm>
            <a:off x="4824970" y="3717082"/>
            <a:ext cx="330398" cy="139303"/>
          </a:xfrm>
          <a:prstGeom prst="rect">
            <a:avLst/>
          </a:prstGeom>
          <a:solidFill>
            <a:srgbClr val="FF6600"/>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smtClean="0">
                <a:solidFill>
                  <a:schemeClr val="bg1"/>
                </a:solidFill>
                <a:latin typeface="Arial" panose="020B0604020202020204" pitchFamily="34" charset="0"/>
                <a:ea typeface="+mj-ea"/>
                <a:cs typeface="Arial" panose="020B0604020202020204" pitchFamily="34" charset="0"/>
                <a:sym typeface="+mj-lt"/>
              </a:rPr>
              <a:t>0.1%</a:t>
            </a:r>
            <a:endParaRPr lang="en-GB" sz="1013" dirty="0">
              <a:solidFill>
                <a:schemeClr val="bg1"/>
              </a:solidFill>
              <a:latin typeface="Arial" panose="020B0604020202020204" pitchFamily="34" charset="0"/>
              <a:ea typeface="+mj-ea"/>
              <a:cs typeface="Arial" panose="020B0604020202020204" pitchFamily="34" charset="0"/>
              <a:sym typeface="+mj-lt"/>
            </a:endParaRPr>
          </a:p>
        </p:txBody>
      </p:sp>
      <p:sp>
        <p:nvSpPr>
          <p:cNvPr id="22" name="Rectangle 21"/>
          <p:cNvSpPr/>
          <p:nvPr>
            <p:custDataLst>
              <p:tags r:id="rId18"/>
            </p:custDataLst>
          </p:nvPr>
        </p:nvSpPr>
        <p:spPr bwMode="gray">
          <a:xfrm>
            <a:off x="5388962" y="3539978"/>
            <a:ext cx="330398" cy="139303"/>
          </a:xfrm>
          <a:prstGeom prst="rect">
            <a:avLst/>
          </a:prstGeom>
          <a:solidFill>
            <a:srgbClr val="A9D18E"/>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smtClean="0">
                <a:solidFill>
                  <a:schemeClr val="tx1"/>
                </a:solidFill>
                <a:latin typeface="Arial" panose="020B0604020202020204" pitchFamily="34" charset="0"/>
                <a:ea typeface="+mj-ea"/>
                <a:cs typeface="Arial" panose="020B0604020202020204" pitchFamily="34" charset="0"/>
                <a:sym typeface="+mj-lt"/>
              </a:rPr>
              <a:t>3.9%</a:t>
            </a:r>
            <a:endParaRPr lang="en-GB" sz="1013" dirty="0">
              <a:solidFill>
                <a:schemeClr val="tx1"/>
              </a:solidFill>
              <a:latin typeface="Arial" panose="020B0604020202020204" pitchFamily="34" charset="0"/>
              <a:ea typeface="+mj-ea"/>
              <a:cs typeface="Arial" panose="020B0604020202020204" pitchFamily="34" charset="0"/>
              <a:sym typeface="+mj-lt"/>
            </a:endParaRPr>
          </a:p>
        </p:txBody>
      </p:sp>
      <p:sp>
        <p:nvSpPr>
          <p:cNvPr id="23" name="Rounded Rectangle 22"/>
          <p:cNvSpPr/>
          <p:nvPr/>
        </p:nvSpPr>
        <p:spPr>
          <a:xfrm>
            <a:off x="3108425" y="2335660"/>
            <a:ext cx="746866" cy="314950"/>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a:solidFill>
                  <a:schemeClr val="bg1"/>
                </a:solidFill>
                <a:latin typeface="Arial" panose="020B0604020202020204" pitchFamily="34" charset="0"/>
                <a:cs typeface="Arial" panose="020B0604020202020204" pitchFamily="34" charset="0"/>
              </a:rPr>
              <a:t>Ecosystem:</a:t>
            </a:r>
          </a:p>
          <a:p>
            <a:pPr algn="ctr"/>
            <a:r>
              <a:rPr lang="en-GB" sz="1125" b="1" dirty="0">
                <a:solidFill>
                  <a:schemeClr val="bg1"/>
                </a:solidFill>
                <a:latin typeface="Arial" panose="020B0604020202020204" pitchFamily="34" charset="0"/>
                <a:cs typeface="Arial" panose="020B0604020202020204" pitchFamily="34" charset="0"/>
              </a:rPr>
              <a:t>6</a:t>
            </a:r>
            <a:r>
              <a:rPr lang="en-GB" sz="1125" b="1" dirty="0" smtClean="0">
                <a:solidFill>
                  <a:schemeClr val="bg1"/>
                </a:solidFill>
                <a:latin typeface="Arial" panose="020B0604020202020204" pitchFamily="34" charset="0"/>
                <a:cs typeface="Arial" panose="020B0604020202020204" pitchFamily="34" charset="0"/>
              </a:rPr>
              <a:t>%</a:t>
            </a:r>
            <a:endParaRPr lang="en-GB" sz="900" b="1" dirty="0">
              <a:solidFill>
                <a:schemeClr val="bg1"/>
              </a:solidFill>
              <a:latin typeface="Arial" panose="020B0604020202020204" pitchFamily="34" charset="0"/>
              <a:cs typeface="Arial" panose="020B0604020202020204" pitchFamily="34" charset="0"/>
            </a:endParaRPr>
          </a:p>
        </p:txBody>
      </p:sp>
      <p:sp>
        <p:nvSpPr>
          <p:cNvPr id="24" name="Rounded Rectangle 23"/>
          <p:cNvSpPr/>
          <p:nvPr/>
        </p:nvSpPr>
        <p:spPr>
          <a:xfrm>
            <a:off x="3091458" y="1832919"/>
            <a:ext cx="748790" cy="310607"/>
          </a:xfrm>
          <a:prstGeom prst="roundRect">
            <a:avLst/>
          </a:prstGeom>
          <a:solidFill>
            <a:srgbClr val="00568F"/>
          </a:solidFill>
          <a:ln>
            <a:solidFill>
              <a:srgbClr val="00568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56" b="1" dirty="0">
                <a:solidFill>
                  <a:schemeClr val="bg1"/>
                </a:solidFill>
                <a:latin typeface="Arial" panose="020B0604020202020204" pitchFamily="34" charset="0"/>
                <a:cs typeface="Arial" panose="020B0604020202020204" pitchFamily="34" charset="0"/>
              </a:rPr>
              <a:t>Volume:</a:t>
            </a:r>
          </a:p>
          <a:p>
            <a:pPr algn="ctr"/>
            <a:r>
              <a:rPr lang="en-GB" sz="956" b="1" dirty="0" smtClean="0">
                <a:solidFill>
                  <a:schemeClr val="bg1"/>
                </a:solidFill>
                <a:latin typeface="Arial" panose="020B0604020202020204" pitchFamily="34" charset="0"/>
                <a:cs typeface="Arial" panose="020B0604020202020204" pitchFamily="34" charset="0"/>
              </a:rPr>
              <a:t>0.9 </a:t>
            </a:r>
            <a:r>
              <a:rPr lang="en-GB" sz="956" b="1" dirty="0" err="1" smtClean="0">
                <a:solidFill>
                  <a:schemeClr val="bg1"/>
                </a:solidFill>
                <a:latin typeface="Arial" panose="020B0604020202020204" pitchFamily="34" charset="0"/>
                <a:cs typeface="Arial" panose="020B0604020202020204" pitchFamily="34" charset="0"/>
              </a:rPr>
              <a:t>bn</a:t>
            </a:r>
            <a:endParaRPr lang="en-GB" sz="956" b="1" dirty="0">
              <a:solidFill>
                <a:schemeClr val="bg1"/>
              </a:solidFill>
              <a:latin typeface="Arial" panose="020B0604020202020204" pitchFamily="34" charset="0"/>
              <a:cs typeface="Arial" panose="020B0604020202020204" pitchFamily="34" charset="0"/>
            </a:endParaRPr>
          </a:p>
        </p:txBody>
      </p:sp>
      <p:sp>
        <p:nvSpPr>
          <p:cNvPr id="25" name="Rounded Rectangle 24"/>
          <p:cNvSpPr/>
          <p:nvPr/>
        </p:nvSpPr>
        <p:spPr>
          <a:xfrm>
            <a:off x="3096884" y="4180534"/>
            <a:ext cx="746866" cy="314950"/>
          </a:xfrm>
          <a:prstGeom prst="roundRect">
            <a:avLst/>
          </a:prstGeom>
          <a:solidFill>
            <a:srgbClr val="9DC3E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a:solidFill>
                  <a:schemeClr val="bg1"/>
                </a:solidFill>
                <a:latin typeface="Arial" panose="020B0604020202020204" pitchFamily="34" charset="0"/>
                <a:cs typeface="Arial" panose="020B0604020202020204" pitchFamily="34" charset="0"/>
              </a:rPr>
              <a:t>Ecosystem:</a:t>
            </a:r>
          </a:p>
          <a:p>
            <a:pPr algn="ctr"/>
            <a:r>
              <a:rPr lang="en-GB" sz="1125" b="1" dirty="0" smtClean="0">
                <a:solidFill>
                  <a:schemeClr val="bg1"/>
                </a:solidFill>
                <a:latin typeface="Arial" panose="020B0604020202020204" pitchFamily="34" charset="0"/>
                <a:cs typeface="Arial" panose="020B0604020202020204" pitchFamily="34" charset="0"/>
              </a:rPr>
              <a:t>15%</a:t>
            </a:r>
            <a:endParaRPr lang="en-GB" sz="900" b="1" dirty="0">
              <a:solidFill>
                <a:schemeClr val="bg1"/>
              </a:solidFill>
              <a:latin typeface="Arial" panose="020B0604020202020204" pitchFamily="34" charset="0"/>
              <a:cs typeface="Arial" panose="020B0604020202020204" pitchFamily="34" charset="0"/>
            </a:endParaRPr>
          </a:p>
        </p:txBody>
      </p:sp>
      <p:sp>
        <p:nvSpPr>
          <p:cNvPr id="26" name="Rounded Rectangle 25"/>
          <p:cNvSpPr/>
          <p:nvPr/>
        </p:nvSpPr>
        <p:spPr>
          <a:xfrm>
            <a:off x="3094960" y="3676899"/>
            <a:ext cx="748790" cy="310607"/>
          </a:xfrm>
          <a:prstGeom prst="roundRect">
            <a:avLst/>
          </a:prstGeom>
          <a:solidFill>
            <a:srgbClr val="00568F"/>
          </a:solidFill>
          <a:ln>
            <a:solidFill>
              <a:srgbClr val="00568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56" b="1" dirty="0">
                <a:solidFill>
                  <a:schemeClr val="bg1"/>
                </a:solidFill>
                <a:latin typeface="Arial" panose="020B0604020202020204" pitchFamily="34" charset="0"/>
                <a:cs typeface="Arial" panose="020B0604020202020204" pitchFamily="34" charset="0"/>
              </a:rPr>
              <a:t>Value:</a:t>
            </a:r>
          </a:p>
          <a:p>
            <a:pPr algn="ctr"/>
            <a:r>
              <a:rPr lang="en-GB" sz="956" b="1" dirty="0" smtClean="0">
                <a:solidFill>
                  <a:schemeClr val="bg1"/>
                </a:solidFill>
                <a:latin typeface="Arial" panose="020B0604020202020204" pitchFamily="34" charset="0"/>
                <a:cs typeface="Arial" panose="020B0604020202020204" pitchFamily="34" charset="0"/>
              </a:rPr>
              <a:t>$22.6 </a:t>
            </a:r>
            <a:r>
              <a:rPr lang="en-GB" sz="956" b="1" dirty="0" err="1">
                <a:solidFill>
                  <a:schemeClr val="bg1"/>
                </a:solidFill>
                <a:latin typeface="Arial" panose="020B0604020202020204" pitchFamily="34" charset="0"/>
                <a:cs typeface="Arial" panose="020B0604020202020204" pitchFamily="34" charset="0"/>
              </a:rPr>
              <a:t>bn</a:t>
            </a:r>
            <a:endParaRPr lang="en-GB" sz="956" b="1" dirty="0">
              <a:solidFill>
                <a:schemeClr val="bg1"/>
              </a:solidFill>
              <a:latin typeface="Arial" panose="020B0604020202020204" pitchFamily="34" charset="0"/>
              <a:cs typeface="Arial" panose="020B0604020202020204" pitchFamily="34" charset="0"/>
            </a:endParaRPr>
          </a:p>
        </p:txBody>
      </p:sp>
      <p:cxnSp>
        <p:nvCxnSpPr>
          <p:cNvPr id="27" name="Straight Connector 26"/>
          <p:cNvCxnSpPr/>
          <p:nvPr/>
        </p:nvCxnSpPr>
        <p:spPr>
          <a:xfrm rot="16200000" flipV="1">
            <a:off x="4124787" y="2655696"/>
            <a:ext cx="3442500" cy="30143"/>
          </a:xfrm>
          <a:prstGeom prst="line">
            <a:avLst/>
          </a:prstGeom>
          <a:ln w="38100"/>
        </p:spPr>
        <p:style>
          <a:lnRef idx="1">
            <a:schemeClr val="accent2"/>
          </a:lnRef>
          <a:fillRef idx="0">
            <a:schemeClr val="accent2"/>
          </a:fillRef>
          <a:effectRef idx="0">
            <a:schemeClr val="accent2"/>
          </a:effectRef>
          <a:fontRef idx="minor">
            <a:schemeClr val="tx1"/>
          </a:fontRef>
        </p:style>
      </p:cxnSp>
      <p:sp>
        <p:nvSpPr>
          <p:cNvPr id="28" name="TextBox 27"/>
          <p:cNvSpPr txBox="1"/>
          <p:nvPr/>
        </p:nvSpPr>
        <p:spPr>
          <a:xfrm>
            <a:off x="3036188" y="1176358"/>
            <a:ext cx="1053494" cy="404085"/>
          </a:xfrm>
          <a:prstGeom prst="rect">
            <a:avLst/>
          </a:prstGeom>
          <a:noFill/>
          <a:ln>
            <a:solidFill>
              <a:schemeClr val="accent1"/>
            </a:solidFill>
            <a:prstDash val="solid"/>
          </a:ln>
        </p:spPr>
        <p:txBody>
          <a:bodyPr wrap="none" rtlCol="0">
            <a:spAutoFit/>
          </a:bodyPr>
          <a:lstStyle/>
          <a:p>
            <a:r>
              <a:rPr lang="en-GB" sz="1013" dirty="0" smtClean="0">
                <a:latin typeface="Arial" panose="020B0604020202020204" pitchFamily="34" charset="0"/>
                <a:cs typeface="Arial" panose="020B0604020202020204" pitchFamily="34" charset="0"/>
              </a:rPr>
              <a:t>SSA </a:t>
            </a:r>
            <a:endParaRPr lang="en-GB" sz="1013" dirty="0">
              <a:latin typeface="Arial" panose="020B0604020202020204" pitchFamily="34" charset="0"/>
              <a:cs typeface="Arial" panose="020B0604020202020204" pitchFamily="34" charset="0"/>
            </a:endParaRPr>
          </a:p>
          <a:p>
            <a:r>
              <a:rPr lang="en-GB" sz="1013" dirty="0">
                <a:latin typeface="Arial" panose="020B0604020202020204" pitchFamily="34" charset="0"/>
                <a:cs typeface="Arial" panose="020B0604020202020204" pitchFamily="34" charset="0"/>
              </a:rPr>
              <a:t>Volumes </a:t>
            </a:r>
            <a:r>
              <a:rPr lang="en-GB" sz="1013" dirty="0" smtClean="0">
                <a:latin typeface="Arial" panose="020B0604020202020204" pitchFamily="34" charset="0"/>
                <a:cs typeface="Arial" panose="020B0604020202020204" pitchFamily="34" charset="0"/>
              </a:rPr>
              <a:t>2010</a:t>
            </a:r>
            <a:endParaRPr lang="en-GB" sz="1013" dirty="0">
              <a:latin typeface="Arial" panose="020B0604020202020204" pitchFamily="34" charset="0"/>
              <a:cs typeface="Arial" panose="020B0604020202020204" pitchFamily="34" charset="0"/>
            </a:endParaRPr>
          </a:p>
        </p:txBody>
      </p:sp>
      <p:sp>
        <p:nvSpPr>
          <p:cNvPr id="29" name="TextBox 28"/>
          <p:cNvSpPr txBox="1"/>
          <p:nvPr/>
        </p:nvSpPr>
        <p:spPr>
          <a:xfrm>
            <a:off x="3037515" y="3146476"/>
            <a:ext cx="907621" cy="404085"/>
          </a:xfrm>
          <a:prstGeom prst="rect">
            <a:avLst/>
          </a:prstGeom>
          <a:noFill/>
          <a:ln>
            <a:solidFill>
              <a:schemeClr val="accent1"/>
            </a:solidFill>
            <a:prstDash val="solid"/>
          </a:ln>
        </p:spPr>
        <p:txBody>
          <a:bodyPr wrap="none" rtlCol="0">
            <a:spAutoFit/>
          </a:bodyPr>
          <a:lstStyle/>
          <a:p>
            <a:r>
              <a:rPr lang="en-GB" sz="1013" dirty="0" smtClean="0">
                <a:latin typeface="Arial" panose="020B0604020202020204" pitchFamily="34" charset="0"/>
                <a:cs typeface="Arial" panose="020B0604020202020204" pitchFamily="34" charset="0"/>
              </a:rPr>
              <a:t>SSA </a:t>
            </a:r>
            <a:endParaRPr lang="en-GB" sz="1013" dirty="0">
              <a:latin typeface="Arial" panose="020B0604020202020204" pitchFamily="34" charset="0"/>
              <a:cs typeface="Arial" panose="020B0604020202020204" pitchFamily="34" charset="0"/>
            </a:endParaRPr>
          </a:p>
          <a:p>
            <a:r>
              <a:rPr lang="en-GB" sz="1013" dirty="0">
                <a:latin typeface="Arial" panose="020B0604020202020204" pitchFamily="34" charset="0"/>
                <a:cs typeface="Arial" panose="020B0604020202020204" pitchFamily="34" charset="0"/>
              </a:rPr>
              <a:t>Values </a:t>
            </a:r>
            <a:r>
              <a:rPr lang="en-GB" sz="1013" dirty="0" smtClean="0">
                <a:latin typeface="Arial" panose="020B0604020202020204" pitchFamily="34" charset="0"/>
                <a:cs typeface="Arial" panose="020B0604020202020204" pitchFamily="34" charset="0"/>
              </a:rPr>
              <a:t>2010</a:t>
            </a:r>
            <a:endParaRPr lang="en-GB" sz="1013" dirty="0">
              <a:latin typeface="Arial" panose="020B0604020202020204" pitchFamily="34" charset="0"/>
              <a:cs typeface="Arial" panose="020B0604020202020204" pitchFamily="34" charset="0"/>
            </a:endParaRPr>
          </a:p>
        </p:txBody>
      </p:sp>
      <p:sp>
        <p:nvSpPr>
          <p:cNvPr id="30" name="Rounded Rectangle 29"/>
          <p:cNvSpPr/>
          <p:nvPr/>
        </p:nvSpPr>
        <p:spPr>
          <a:xfrm>
            <a:off x="740282" y="1605212"/>
            <a:ext cx="1855624" cy="82581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575" b="1" dirty="0" smtClean="0">
                <a:solidFill>
                  <a:srgbClr val="193C6C"/>
                </a:solidFill>
                <a:latin typeface="Arial" panose="020B0604020202020204" pitchFamily="34" charset="0"/>
                <a:cs typeface="Arial" panose="020B0604020202020204" pitchFamily="34" charset="0"/>
              </a:rPr>
              <a:t>SSA </a:t>
            </a:r>
            <a:r>
              <a:rPr lang="en-GB" sz="1575" b="1" dirty="0">
                <a:solidFill>
                  <a:srgbClr val="193C6C"/>
                </a:solidFill>
                <a:latin typeface="Arial" panose="020B0604020202020204" pitchFamily="34" charset="0"/>
                <a:cs typeface="Arial" panose="020B0604020202020204" pitchFamily="34" charset="0"/>
              </a:rPr>
              <a:t>Product Mix*</a:t>
            </a:r>
          </a:p>
          <a:p>
            <a:pPr algn="ctr"/>
            <a:r>
              <a:rPr lang="en-GB" sz="1575" b="1" dirty="0" smtClean="0">
                <a:solidFill>
                  <a:srgbClr val="193C6C"/>
                </a:solidFill>
                <a:latin typeface="Arial" panose="020B0604020202020204" pitchFamily="34" charset="0"/>
                <a:cs typeface="Arial" panose="020B0604020202020204" pitchFamily="34" charset="0"/>
              </a:rPr>
              <a:t>2010 vs 2018</a:t>
            </a:r>
            <a:endParaRPr lang="en-GB" sz="1575" b="1" dirty="0">
              <a:solidFill>
                <a:srgbClr val="193C6C"/>
              </a:solidFill>
              <a:latin typeface="Arial" panose="020B0604020202020204" pitchFamily="34" charset="0"/>
              <a:cs typeface="Arial" panose="020B0604020202020204" pitchFamily="34" charset="0"/>
            </a:endParaRPr>
          </a:p>
        </p:txBody>
      </p:sp>
      <p:sp>
        <p:nvSpPr>
          <p:cNvPr id="31" name="TextBox 30"/>
          <p:cNvSpPr txBox="1"/>
          <p:nvPr/>
        </p:nvSpPr>
        <p:spPr>
          <a:xfrm>
            <a:off x="1921850" y="3423296"/>
            <a:ext cx="960519" cy="404085"/>
          </a:xfrm>
          <a:prstGeom prst="rect">
            <a:avLst/>
          </a:prstGeom>
          <a:noFill/>
        </p:spPr>
        <p:txBody>
          <a:bodyPr wrap="none" rtlCol="0">
            <a:spAutoFit/>
          </a:bodyPr>
          <a:lstStyle/>
          <a:p>
            <a:pPr algn="r"/>
            <a:r>
              <a:rPr lang="en-GB" sz="1013" b="1" dirty="0">
                <a:latin typeface="Arial" panose="020B0604020202020204" pitchFamily="34" charset="0"/>
                <a:cs typeface="Arial" panose="020B0604020202020204" pitchFamily="34" charset="0"/>
              </a:rPr>
              <a:t>Ecosystem </a:t>
            </a:r>
          </a:p>
          <a:p>
            <a:pPr algn="r"/>
            <a:r>
              <a:rPr lang="en-GB" sz="1013" b="1" dirty="0">
                <a:latin typeface="Arial" panose="020B0604020202020204" pitchFamily="34" charset="0"/>
                <a:cs typeface="Arial" panose="020B0604020202020204" pitchFamily="34" charset="0"/>
              </a:rPr>
              <a:t>transactions</a:t>
            </a:r>
          </a:p>
        </p:txBody>
      </p:sp>
      <p:graphicFrame>
        <p:nvGraphicFramePr>
          <p:cNvPr id="33" name="Chart 32"/>
          <p:cNvGraphicFramePr/>
          <p:nvPr>
            <p:custDataLst>
              <p:tags r:id="rId19"/>
            </p:custDataLst>
            <p:extLst>
              <p:ext uri="{D42A27DB-BD31-4B8C-83A1-F6EECF244321}">
                <p14:modId xmlns:p14="http://schemas.microsoft.com/office/powerpoint/2010/main" val="2234772407"/>
              </p:ext>
            </p:extLst>
          </p:nvPr>
        </p:nvGraphicFramePr>
        <p:xfrm>
          <a:off x="3797939" y="1313657"/>
          <a:ext cx="2329755" cy="1574304"/>
        </p:xfrm>
        <a:graphic>
          <a:graphicData uri="http://schemas.openxmlformats.org/drawingml/2006/chart">
            <c:chart xmlns:c="http://schemas.openxmlformats.org/drawingml/2006/chart" xmlns:r="http://schemas.openxmlformats.org/officeDocument/2006/relationships" r:id="rId27"/>
          </a:graphicData>
        </a:graphic>
      </p:graphicFrame>
      <p:sp>
        <p:nvSpPr>
          <p:cNvPr id="34" name="Rectangle 33"/>
          <p:cNvSpPr/>
          <p:nvPr/>
        </p:nvSpPr>
        <p:spPr bwMode="gray">
          <a:xfrm>
            <a:off x="4785901" y="2310815"/>
            <a:ext cx="376162" cy="109526"/>
          </a:xfrm>
          <a:prstGeom prst="rect">
            <a:avLst/>
          </a:prstGeom>
          <a:solidFill>
            <a:srgbClr val="FF6600"/>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smtClean="0">
                <a:solidFill>
                  <a:schemeClr val="bg1"/>
                </a:solidFill>
                <a:latin typeface="Arial" panose="020B0604020202020204" pitchFamily="34" charset="0"/>
                <a:ea typeface="+mj-ea"/>
                <a:cs typeface="Arial" panose="020B0604020202020204" pitchFamily="34" charset="0"/>
                <a:sym typeface="+mj-lt"/>
              </a:rPr>
              <a:t>0.02%</a:t>
            </a:r>
            <a:endParaRPr lang="en-GB" sz="1013" dirty="0">
              <a:solidFill>
                <a:schemeClr val="bg1"/>
              </a:solidFill>
              <a:latin typeface="Arial" panose="020B0604020202020204" pitchFamily="34" charset="0"/>
              <a:ea typeface="+mj-ea"/>
              <a:cs typeface="Arial" panose="020B0604020202020204" pitchFamily="34" charset="0"/>
              <a:sym typeface="+mj-lt"/>
            </a:endParaRPr>
          </a:p>
        </p:txBody>
      </p:sp>
      <p:sp>
        <p:nvSpPr>
          <p:cNvPr id="35" name="Rectangle 34"/>
          <p:cNvSpPr/>
          <p:nvPr/>
        </p:nvSpPr>
        <p:spPr bwMode="gray">
          <a:xfrm>
            <a:off x="4742225" y="2562324"/>
            <a:ext cx="330398" cy="137860"/>
          </a:xfrm>
          <a:prstGeom prst="rect">
            <a:avLst/>
          </a:prstGeom>
          <a:solidFill>
            <a:srgbClr val="85CFE9"/>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smtClean="0">
                <a:solidFill>
                  <a:schemeClr val="bg1"/>
                </a:solidFill>
                <a:latin typeface="Arial" panose="020B0604020202020204" pitchFamily="34" charset="0"/>
                <a:ea typeface="+mj-ea"/>
                <a:cs typeface="Arial" panose="020B0604020202020204" pitchFamily="34" charset="0"/>
                <a:sym typeface="+mj-lt"/>
              </a:rPr>
              <a:t>1.0%</a:t>
            </a:r>
            <a:endParaRPr lang="en-GB" sz="1013" dirty="0">
              <a:solidFill>
                <a:schemeClr val="bg1"/>
              </a:solidFill>
              <a:latin typeface="Arial" panose="020B0604020202020204" pitchFamily="34" charset="0"/>
              <a:ea typeface="+mj-ea"/>
              <a:cs typeface="Arial" panose="020B0604020202020204" pitchFamily="34" charset="0"/>
              <a:sym typeface="+mj-lt"/>
            </a:endParaRPr>
          </a:p>
        </p:txBody>
      </p:sp>
      <p:sp>
        <p:nvSpPr>
          <p:cNvPr id="36" name="Rectangle 35"/>
          <p:cNvSpPr/>
          <p:nvPr/>
        </p:nvSpPr>
        <p:spPr bwMode="gray">
          <a:xfrm>
            <a:off x="4269590" y="1852360"/>
            <a:ext cx="330398" cy="139303"/>
          </a:xfrm>
          <a:prstGeom prst="rect">
            <a:avLst/>
          </a:prstGeom>
          <a:solidFill>
            <a:srgbClr val="193C6C"/>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altLang="en-US" sz="1013" dirty="0" smtClean="0">
                <a:solidFill>
                  <a:schemeClr val="bg1"/>
                </a:solidFill>
                <a:latin typeface="Arial" panose="020B0604020202020204" pitchFamily="34" charset="0"/>
                <a:ea typeface="+mj-ea"/>
                <a:cs typeface="Arial" panose="020B0604020202020204" pitchFamily="34" charset="0"/>
                <a:sym typeface="+mj-lt"/>
              </a:rPr>
              <a:t>37.6%</a:t>
            </a:r>
            <a:endParaRPr lang="en-GB" sz="1013" dirty="0">
              <a:solidFill>
                <a:schemeClr val="bg1"/>
              </a:solidFill>
              <a:latin typeface="Arial" panose="020B0604020202020204" pitchFamily="34" charset="0"/>
              <a:ea typeface="+mj-ea"/>
              <a:cs typeface="Arial" panose="020B0604020202020204" pitchFamily="34" charset="0"/>
              <a:sym typeface="+mj-lt"/>
            </a:endParaRPr>
          </a:p>
        </p:txBody>
      </p:sp>
      <p:sp>
        <p:nvSpPr>
          <p:cNvPr id="37" name="Rectangle 36"/>
          <p:cNvSpPr/>
          <p:nvPr/>
        </p:nvSpPr>
        <p:spPr bwMode="gray">
          <a:xfrm>
            <a:off x="4303157" y="2742005"/>
            <a:ext cx="330398" cy="139303"/>
          </a:xfrm>
          <a:prstGeom prst="rect">
            <a:avLst/>
          </a:prstGeom>
          <a:solidFill>
            <a:srgbClr val="00568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smtClean="0">
                <a:solidFill>
                  <a:schemeClr val="bg1"/>
                </a:solidFill>
                <a:latin typeface="Arial" panose="020B0604020202020204" pitchFamily="34" charset="0"/>
                <a:ea typeface="+mj-ea"/>
                <a:cs typeface="Arial" panose="020B0604020202020204" pitchFamily="34" charset="0"/>
                <a:sym typeface="+mj-lt"/>
              </a:rPr>
              <a:t>1.2%</a:t>
            </a:r>
            <a:endParaRPr lang="en-GB" sz="1013" dirty="0">
              <a:solidFill>
                <a:schemeClr val="bg1"/>
              </a:solidFill>
              <a:latin typeface="Arial" panose="020B0604020202020204" pitchFamily="34" charset="0"/>
              <a:ea typeface="+mj-ea"/>
              <a:cs typeface="Arial" panose="020B0604020202020204" pitchFamily="34" charset="0"/>
              <a:sym typeface="+mj-lt"/>
            </a:endParaRPr>
          </a:p>
        </p:txBody>
      </p:sp>
      <p:sp>
        <p:nvSpPr>
          <p:cNvPr id="38" name="Rectangle 37"/>
          <p:cNvSpPr/>
          <p:nvPr/>
        </p:nvSpPr>
        <p:spPr bwMode="gray">
          <a:xfrm>
            <a:off x="4266376" y="2574128"/>
            <a:ext cx="330398" cy="139303"/>
          </a:xfrm>
          <a:prstGeom prst="rect">
            <a:avLst/>
          </a:prstGeom>
          <a:solidFill>
            <a:srgbClr val="A9D18E"/>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smtClean="0">
                <a:solidFill>
                  <a:schemeClr val="tx1"/>
                </a:solidFill>
                <a:latin typeface="Arial" panose="020B0604020202020204" pitchFamily="34" charset="0"/>
                <a:ea typeface="+mj-ea"/>
                <a:cs typeface="Arial" panose="020B0604020202020204" pitchFamily="34" charset="0"/>
                <a:sym typeface="+mj-lt"/>
              </a:rPr>
              <a:t>3.5%</a:t>
            </a:r>
            <a:endParaRPr lang="en-GB" sz="1013" dirty="0">
              <a:solidFill>
                <a:schemeClr val="tx1"/>
              </a:solidFill>
              <a:latin typeface="Arial" panose="020B0604020202020204" pitchFamily="34" charset="0"/>
              <a:ea typeface="+mj-ea"/>
              <a:cs typeface="Arial" panose="020B0604020202020204" pitchFamily="34" charset="0"/>
              <a:sym typeface="+mj-lt"/>
            </a:endParaRPr>
          </a:p>
        </p:txBody>
      </p:sp>
      <p:sp>
        <p:nvSpPr>
          <p:cNvPr id="39" name="Rectangle 38"/>
          <p:cNvSpPr/>
          <p:nvPr/>
        </p:nvSpPr>
        <p:spPr>
          <a:xfrm>
            <a:off x="414831" y="4688088"/>
            <a:ext cx="2681400" cy="3012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788" dirty="0">
                <a:solidFill>
                  <a:schemeClr val="tx1"/>
                </a:solidFill>
                <a:latin typeface="Arial" panose="020B0604020202020204" pitchFamily="34" charset="0"/>
                <a:cs typeface="Arial" panose="020B0604020202020204" pitchFamily="34" charset="0"/>
              </a:rPr>
              <a:t>*Note: Excluding cash-in and cash-out</a:t>
            </a:r>
          </a:p>
        </p:txBody>
      </p:sp>
      <p:sp>
        <p:nvSpPr>
          <p:cNvPr id="40" name="Rectangle 39"/>
          <p:cNvSpPr/>
          <p:nvPr/>
        </p:nvSpPr>
        <p:spPr bwMode="gray">
          <a:xfrm>
            <a:off x="5161057" y="3304532"/>
            <a:ext cx="330398" cy="139303"/>
          </a:xfrm>
          <a:prstGeom prst="rect">
            <a:avLst/>
          </a:prstGeom>
          <a:solidFill>
            <a:srgbClr val="193C6C"/>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smtClean="0">
                <a:solidFill>
                  <a:schemeClr val="bg1"/>
                </a:solidFill>
                <a:latin typeface="Arial" panose="020B0604020202020204" pitchFamily="34" charset="0"/>
                <a:ea typeface="+mj-ea"/>
                <a:cs typeface="Arial" panose="020B0604020202020204" pitchFamily="34" charset="0"/>
                <a:sym typeface="+mj-lt"/>
              </a:rPr>
              <a:t>8.9%</a:t>
            </a:r>
            <a:endParaRPr lang="en-GB" sz="1013" dirty="0">
              <a:solidFill>
                <a:schemeClr val="bg1"/>
              </a:solidFill>
              <a:latin typeface="Arial" panose="020B0604020202020204" pitchFamily="34" charset="0"/>
              <a:ea typeface="+mj-ea"/>
              <a:cs typeface="Arial" panose="020B0604020202020204" pitchFamily="34" charset="0"/>
              <a:sym typeface="+mj-lt"/>
            </a:endParaRPr>
          </a:p>
        </p:txBody>
      </p:sp>
      <p:graphicFrame>
        <p:nvGraphicFramePr>
          <p:cNvPr id="41" name="Chart 40"/>
          <p:cNvGraphicFramePr/>
          <p:nvPr>
            <p:extLst>
              <p:ext uri="{D42A27DB-BD31-4B8C-83A1-F6EECF244321}">
                <p14:modId xmlns:p14="http://schemas.microsoft.com/office/powerpoint/2010/main" val="636737104"/>
              </p:ext>
            </p:extLst>
          </p:nvPr>
        </p:nvGraphicFramePr>
        <p:xfrm>
          <a:off x="6659571" y="3149452"/>
          <a:ext cx="2329756" cy="1555552"/>
        </p:xfrm>
        <a:graphic>
          <a:graphicData uri="http://schemas.openxmlformats.org/drawingml/2006/chart">
            <c:chart xmlns:c="http://schemas.openxmlformats.org/drawingml/2006/chart" xmlns:r="http://schemas.openxmlformats.org/officeDocument/2006/relationships" r:id="rId28"/>
          </a:graphicData>
        </a:graphic>
      </p:graphicFrame>
      <p:sp>
        <p:nvSpPr>
          <p:cNvPr id="42" name="Rectangle 41"/>
          <p:cNvSpPr/>
          <p:nvPr/>
        </p:nvSpPr>
        <p:spPr bwMode="gray">
          <a:xfrm>
            <a:off x="7118225" y="4012656"/>
            <a:ext cx="401836" cy="139303"/>
          </a:xfrm>
          <a:prstGeom prst="rect">
            <a:avLst/>
          </a:prstGeom>
          <a:solidFill>
            <a:srgbClr val="193C6C"/>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altLang="en-US" sz="1013" dirty="0" smtClean="0">
                <a:solidFill>
                  <a:schemeClr val="bg1"/>
                </a:solidFill>
                <a:latin typeface="Arial" panose="020B0604020202020204" pitchFamily="34" charset="0"/>
                <a:ea typeface="+mj-ea"/>
                <a:cs typeface="Arial" panose="020B0604020202020204" pitchFamily="34" charset="0"/>
                <a:sym typeface="+mj-lt"/>
              </a:rPr>
              <a:t>60.8%</a:t>
            </a:r>
            <a:endParaRPr lang="en-GB" sz="1013" dirty="0">
              <a:solidFill>
                <a:schemeClr val="bg1"/>
              </a:solidFill>
              <a:latin typeface="Arial" panose="020B0604020202020204" pitchFamily="34" charset="0"/>
              <a:ea typeface="+mj-ea"/>
              <a:cs typeface="Arial" panose="020B0604020202020204" pitchFamily="34" charset="0"/>
              <a:sym typeface="+mj-lt"/>
            </a:endParaRPr>
          </a:p>
        </p:txBody>
      </p:sp>
      <p:sp>
        <p:nvSpPr>
          <p:cNvPr id="43" name="Rectangle 42"/>
          <p:cNvSpPr/>
          <p:nvPr/>
        </p:nvSpPr>
        <p:spPr bwMode="gray">
          <a:xfrm>
            <a:off x="7576590" y="3247678"/>
            <a:ext cx="401836" cy="139303"/>
          </a:xfrm>
          <a:prstGeom prst="rect">
            <a:avLst/>
          </a:prstGeom>
          <a:solidFill>
            <a:srgbClr val="FFCC66"/>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smtClean="0">
                <a:solidFill>
                  <a:schemeClr val="tx1"/>
                </a:solidFill>
                <a:latin typeface="Arial" panose="020B0604020202020204" pitchFamily="34" charset="0"/>
                <a:ea typeface="+mj-ea"/>
                <a:cs typeface="Arial" panose="020B0604020202020204" pitchFamily="34" charset="0"/>
                <a:sym typeface="+mj-lt"/>
              </a:rPr>
              <a:t>2.9%</a:t>
            </a:r>
            <a:endParaRPr lang="en-GB" sz="1013" dirty="0">
              <a:solidFill>
                <a:schemeClr val="tx1"/>
              </a:solidFill>
              <a:latin typeface="Arial" panose="020B0604020202020204" pitchFamily="34" charset="0"/>
              <a:ea typeface="+mj-ea"/>
              <a:cs typeface="Arial" panose="020B0604020202020204" pitchFamily="34" charset="0"/>
              <a:sym typeface="+mj-lt"/>
            </a:endParaRPr>
          </a:p>
        </p:txBody>
      </p:sp>
      <p:sp>
        <p:nvSpPr>
          <p:cNvPr id="44" name="Rectangle 43"/>
          <p:cNvSpPr/>
          <p:nvPr/>
        </p:nvSpPr>
        <p:spPr bwMode="gray">
          <a:xfrm>
            <a:off x="8045815" y="3350370"/>
            <a:ext cx="330398" cy="139303"/>
          </a:xfrm>
          <a:prstGeom prst="rect">
            <a:avLst/>
          </a:prstGeom>
          <a:solidFill>
            <a:srgbClr val="85CFE9"/>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smtClean="0">
                <a:solidFill>
                  <a:schemeClr val="bg1"/>
                </a:solidFill>
                <a:latin typeface="Arial" panose="020B0604020202020204" pitchFamily="34" charset="0"/>
                <a:ea typeface="+mj-ea"/>
                <a:cs typeface="Arial" panose="020B0604020202020204" pitchFamily="34" charset="0"/>
                <a:sym typeface="+mj-lt"/>
              </a:rPr>
              <a:t>10.8%</a:t>
            </a:r>
            <a:endParaRPr lang="en-GB" sz="1013" dirty="0">
              <a:solidFill>
                <a:schemeClr val="bg1"/>
              </a:solidFill>
              <a:latin typeface="Arial" panose="020B0604020202020204" pitchFamily="34" charset="0"/>
              <a:ea typeface="+mj-ea"/>
              <a:cs typeface="Arial" panose="020B0604020202020204" pitchFamily="34" charset="0"/>
              <a:sym typeface="+mj-lt"/>
            </a:endParaRPr>
          </a:p>
        </p:txBody>
      </p:sp>
      <p:sp>
        <p:nvSpPr>
          <p:cNvPr id="45" name="Rectangle 44"/>
          <p:cNvSpPr/>
          <p:nvPr/>
        </p:nvSpPr>
        <p:spPr bwMode="gray">
          <a:xfrm>
            <a:off x="8398345" y="4032598"/>
            <a:ext cx="330398" cy="139303"/>
          </a:xfrm>
          <a:prstGeom prst="rect">
            <a:avLst/>
          </a:prstGeom>
          <a:solidFill>
            <a:srgbClr val="FF6600"/>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smtClean="0">
                <a:solidFill>
                  <a:schemeClr val="bg1"/>
                </a:solidFill>
                <a:latin typeface="Arial" panose="020B0604020202020204" pitchFamily="34" charset="0"/>
                <a:ea typeface="+mj-ea"/>
                <a:cs typeface="Arial" panose="020B0604020202020204" pitchFamily="34" charset="0"/>
                <a:sym typeface="+mj-lt"/>
              </a:rPr>
              <a:t>2.2%</a:t>
            </a:r>
            <a:endParaRPr lang="en-GB" sz="1013" dirty="0">
              <a:solidFill>
                <a:schemeClr val="bg1"/>
              </a:solidFill>
              <a:latin typeface="Arial" panose="020B0604020202020204" pitchFamily="34" charset="0"/>
              <a:ea typeface="+mj-ea"/>
              <a:cs typeface="Arial" panose="020B0604020202020204" pitchFamily="34" charset="0"/>
              <a:sym typeface="+mj-lt"/>
            </a:endParaRPr>
          </a:p>
        </p:txBody>
      </p:sp>
      <p:sp>
        <p:nvSpPr>
          <p:cNvPr id="46" name="Rectangle 45"/>
          <p:cNvSpPr/>
          <p:nvPr/>
        </p:nvSpPr>
        <p:spPr bwMode="gray">
          <a:xfrm>
            <a:off x="8160497" y="4196606"/>
            <a:ext cx="330398" cy="139303"/>
          </a:xfrm>
          <a:prstGeom prst="rect">
            <a:avLst/>
          </a:prstGeom>
          <a:solidFill>
            <a:schemeClr val="accent5"/>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smtClean="0">
                <a:solidFill>
                  <a:schemeClr val="bg1"/>
                </a:solidFill>
                <a:latin typeface="Arial" panose="020B0604020202020204" pitchFamily="34" charset="0"/>
                <a:ea typeface="+mj-ea"/>
                <a:cs typeface="Arial" panose="020B0604020202020204" pitchFamily="34" charset="0"/>
                <a:sym typeface="+mj-lt"/>
              </a:rPr>
              <a:t>15.1</a:t>
            </a:r>
            <a:r>
              <a:rPr lang="en-GB" sz="1013" dirty="0">
                <a:solidFill>
                  <a:schemeClr val="bg1"/>
                </a:solidFill>
                <a:latin typeface="Arial" panose="020B0604020202020204" pitchFamily="34" charset="0"/>
                <a:ea typeface="+mj-ea"/>
                <a:cs typeface="Arial" panose="020B0604020202020204" pitchFamily="34" charset="0"/>
                <a:sym typeface="+mj-lt"/>
              </a:rPr>
              <a:t>%</a:t>
            </a:r>
          </a:p>
        </p:txBody>
      </p:sp>
      <p:sp>
        <p:nvSpPr>
          <p:cNvPr id="47" name="Rounded Rectangle 46"/>
          <p:cNvSpPr/>
          <p:nvPr/>
        </p:nvSpPr>
        <p:spPr>
          <a:xfrm>
            <a:off x="6051460" y="2334172"/>
            <a:ext cx="746866" cy="314950"/>
          </a:xfrm>
          <a:prstGeom prst="roundRect">
            <a:avLst/>
          </a:prstGeom>
          <a:solidFill>
            <a:srgbClr val="9DC3E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a:solidFill>
                  <a:schemeClr val="bg1"/>
                </a:solidFill>
                <a:latin typeface="Arial" panose="020B0604020202020204" pitchFamily="34" charset="0"/>
                <a:cs typeface="Arial" panose="020B0604020202020204" pitchFamily="34" charset="0"/>
              </a:rPr>
              <a:t>Ecosystem:</a:t>
            </a:r>
          </a:p>
          <a:p>
            <a:pPr algn="ctr"/>
            <a:r>
              <a:rPr lang="en-GB" sz="1125" b="1" dirty="0" smtClean="0">
                <a:solidFill>
                  <a:schemeClr val="bg1"/>
                </a:solidFill>
                <a:latin typeface="Arial" panose="020B0604020202020204" pitchFamily="34" charset="0"/>
                <a:cs typeface="Arial" panose="020B0604020202020204" pitchFamily="34" charset="0"/>
              </a:rPr>
              <a:t>24%</a:t>
            </a:r>
            <a:endParaRPr lang="en-GB" sz="900" b="1" dirty="0">
              <a:solidFill>
                <a:schemeClr val="bg1"/>
              </a:solidFill>
              <a:latin typeface="Arial" panose="020B0604020202020204" pitchFamily="34" charset="0"/>
              <a:cs typeface="Arial" panose="020B0604020202020204" pitchFamily="34" charset="0"/>
            </a:endParaRPr>
          </a:p>
        </p:txBody>
      </p:sp>
      <p:sp>
        <p:nvSpPr>
          <p:cNvPr id="48" name="Rounded Rectangle 47"/>
          <p:cNvSpPr/>
          <p:nvPr/>
        </p:nvSpPr>
        <p:spPr>
          <a:xfrm>
            <a:off x="6034493" y="1831431"/>
            <a:ext cx="748790" cy="310607"/>
          </a:xfrm>
          <a:prstGeom prst="roundRect">
            <a:avLst/>
          </a:prstGeom>
          <a:solidFill>
            <a:srgbClr val="00568F"/>
          </a:solidFill>
          <a:ln>
            <a:solidFill>
              <a:srgbClr val="00568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56" b="1" dirty="0">
                <a:solidFill>
                  <a:schemeClr val="bg1"/>
                </a:solidFill>
                <a:latin typeface="Arial" panose="020B0604020202020204" pitchFamily="34" charset="0"/>
                <a:cs typeface="Arial" panose="020B0604020202020204" pitchFamily="34" charset="0"/>
              </a:rPr>
              <a:t>Volume:</a:t>
            </a:r>
          </a:p>
          <a:p>
            <a:pPr algn="ctr"/>
            <a:r>
              <a:rPr lang="en-GB" sz="956" b="1" dirty="0" smtClean="0">
                <a:solidFill>
                  <a:schemeClr val="bg1"/>
                </a:solidFill>
                <a:latin typeface="Arial" panose="020B0604020202020204" pitchFamily="34" charset="0"/>
                <a:cs typeface="Arial" panose="020B0604020202020204" pitchFamily="34" charset="0"/>
              </a:rPr>
              <a:t>19.1 </a:t>
            </a:r>
            <a:r>
              <a:rPr lang="en-GB" sz="956" b="1" dirty="0" err="1" smtClean="0">
                <a:solidFill>
                  <a:schemeClr val="bg1"/>
                </a:solidFill>
                <a:latin typeface="Arial" panose="020B0604020202020204" pitchFamily="34" charset="0"/>
                <a:cs typeface="Arial" panose="020B0604020202020204" pitchFamily="34" charset="0"/>
              </a:rPr>
              <a:t>bn</a:t>
            </a:r>
            <a:endParaRPr lang="en-GB" sz="956" b="1" dirty="0">
              <a:solidFill>
                <a:schemeClr val="bg1"/>
              </a:solidFill>
              <a:latin typeface="Arial" panose="020B0604020202020204" pitchFamily="34" charset="0"/>
              <a:cs typeface="Arial" panose="020B0604020202020204" pitchFamily="34" charset="0"/>
            </a:endParaRPr>
          </a:p>
        </p:txBody>
      </p:sp>
      <p:sp>
        <p:nvSpPr>
          <p:cNvPr id="49" name="Rounded Rectangle 48"/>
          <p:cNvSpPr/>
          <p:nvPr/>
        </p:nvSpPr>
        <p:spPr>
          <a:xfrm>
            <a:off x="6039919" y="4179046"/>
            <a:ext cx="746866" cy="314950"/>
          </a:xfrm>
          <a:prstGeom prst="roundRect">
            <a:avLst/>
          </a:prstGeom>
          <a:solidFill>
            <a:srgbClr val="9DC3E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00" b="1" dirty="0">
                <a:solidFill>
                  <a:schemeClr val="bg1"/>
                </a:solidFill>
                <a:latin typeface="Arial" panose="020B0604020202020204" pitchFamily="34" charset="0"/>
                <a:cs typeface="Arial" panose="020B0604020202020204" pitchFamily="34" charset="0"/>
              </a:rPr>
              <a:t>Ecosystem:</a:t>
            </a:r>
          </a:p>
          <a:p>
            <a:pPr algn="ctr"/>
            <a:r>
              <a:rPr lang="en-GB" sz="1125" b="1" dirty="0" smtClean="0">
                <a:solidFill>
                  <a:schemeClr val="bg1"/>
                </a:solidFill>
                <a:latin typeface="Arial" panose="020B0604020202020204" pitchFamily="34" charset="0"/>
                <a:cs typeface="Arial" panose="020B0604020202020204" pitchFamily="34" charset="0"/>
              </a:rPr>
              <a:t>36%</a:t>
            </a:r>
            <a:endParaRPr lang="en-GB" sz="900" b="1" dirty="0">
              <a:solidFill>
                <a:schemeClr val="bg1"/>
              </a:solidFill>
              <a:latin typeface="Arial" panose="020B0604020202020204" pitchFamily="34" charset="0"/>
              <a:cs typeface="Arial" panose="020B0604020202020204" pitchFamily="34" charset="0"/>
            </a:endParaRPr>
          </a:p>
        </p:txBody>
      </p:sp>
      <p:sp>
        <p:nvSpPr>
          <p:cNvPr id="50" name="Rounded Rectangle 49"/>
          <p:cNvSpPr/>
          <p:nvPr/>
        </p:nvSpPr>
        <p:spPr>
          <a:xfrm>
            <a:off x="6037995" y="3675411"/>
            <a:ext cx="748790" cy="310607"/>
          </a:xfrm>
          <a:prstGeom prst="roundRect">
            <a:avLst/>
          </a:prstGeom>
          <a:solidFill>
            <a:srgbClr val="00568F"/>
          </a:solidFill>
          <a:ln>
            <a:solidFill>
              <a:srgbClr val="00568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956" b="1" dirty="0">
                <a:solidFill>
                  <a:schemeClr val="bg1"/>
                </a:solidFill>
                <a:latin typeface="Arial" panose="020B0604020202020204" pitchFamily="34" charset="0"/>
                <a:cs typeface="Arial" panose="020B0604020202020204" pitchFamily="34" charset="0"/>
              </a:rPr>
              <a:t>Value:</a:t>
            </a:r>
          </a:p>
          <a:p>
            <a:pPr algn="ctr"/>
            <a:r>
              <a:rPr lang="en-GB" sz="956" b="1" dirty="0" smtClean="0">
                <a:solidFill>
                  <a:schemeClr val="bg1"/>
                </a:solidFill>
                <a:latin typeface="Arial" panose="020B0604020202020204" pitchFamily="34" charset="0"/>
                <a:cs typeface="Arial" panose="020B0604020202020204" pitchFamily="34" charset="0"/>
              </a:rPr>
              <a:t>$305.1 </a:t>
            </a:r>
            <a:r>
              <a:rPr lang="en-GB" sz="956" b="1" dirty="0" err="1">
                <a:solidFill>
                  <a:schemeClr val="bg1"/>
                </a:solidFill>
                <a:latin typeface="Arial" panose="020B0604020202020204" pitchFamily="34" charset="0"/>
                <a:cs typeface="Arial" panose="020B0604020202020204" pitchFamily="34" charset="0"/>
              </a:rPr>
              <a:t>bn</a:t>
            </a:r>
            <a:endParaRPr lang="en-GB" sz="956" b="1" dirty="0">
              <a:solidFill>
                <a:schemeClr val="bg1"/>
              </a:solidFill>
              <a:latin typeface="Arial" panose="020B0604020202020204" pitchFamily="34" charset="0"/>
              <a:cs typeface="Arial" panose="020B0604020202020204" pitchFamily="34" charset="0"/>
            </a:endParaRPr>
          </a:p>
        </p:txBody>
      </p:sp>
      <p:sp>
        <p:nvSpPr>
          <p:cNvPr id="51" name="TextBox 50"/>
          <p:cNvSpPr txBox="1"/>
          <p:nvPr/>
        </p:nvSpPr>
        <p:spPr>
          <a:xfrm>
            <a:off x="5980550" y="3144988"/>
            <a:ext cx="907621" cy="404085"/>
          </a:xfrm>
          <a:prstGeom prst="rect">
            <a:avLst/>
          </a:prstGeom>
          <a:noFill/>
          <a:ln>
            <a:solidFill>
              <a:schemeClr val="accent1"/>
            </a:solidFill>
            <a:prstDash val="solid"/>
          </a:ln>
        </p:spPr>
        <p:txBody>
          <a:bodyPr wrap="none" rtlCol="0">
            <a:spAutoFit/>
          </a:bodyPr>
          <a:lstStyle/>
          <a:p>
            <a:r>
              <a:rPr lang="en-GB" sz="1013" dirty="0" smtClean="0">
                <a:latin typeface="Arial" panose="020B0604020202020204" pitchFamily="34" charset="0"/>
                <a:cs typeface="Arial" panose="020B0604020202020204" pitchFamily="34" charset="0"/>
              </a:rPr>
              <a:t>SSA </a:t>
            </a:r>
            <a:endParaRPr lang="en-GB" sz="1013" dirty="0">
              <a:latin typeface="Arial" panose="020B0604020202020204" pitchFamily="34" charset="0"/>
              <a:cs typeface="Arial" panose="020B0604020202020204" pitchFamily="34" charset="0"/>
            </a:endParaRPr>
          </a:p>
          <a:p>
            <a:r>
              <a:rPr lang="en-GB" sz="1013" dirty="0">
                <a:latin typeface="Arial" panose="020B0604020202020204" pitchFamily="34" charset="0"/>
                <a:cs typeface="Arial" panose="020B0604020202020204" pitchFamily="34" charset="0"/>
              </a:rPr>
              <a:t>Values 2018</a:t>
            </a:r>
          </a:p>
        </p:txBody>
      </p:sp>
      <p:graphicFrame>
        <p:nvGraphicFramePr>
          <p:cNvPr id="52" name="Chart 51"/>
          <p:cNvGraphicFramePr/>
          <p:nvPr>
            <p:extLst>
              <p:ext uri="{D42A27DB-BD31-4B8C-83A1-F6EECF244321}">
                <p14:modId xmlns:p14="http://schemas.microsoft.com/office/powerpoint/2010/main" val="4106376803"/>
              </p:ext>
            </p:extLst>
          </p:nvPr>
        </p:nvGraphicFramePr>
        <p:xfrm>
          <a:off x="6740974" y="1275329"/>
          <a:ext cx="2329755" cy="1574304"/>
        </p:xfrm>
        <a:graphic>
          <a:graphicData uri="http://schemas.openxmlformats.org/drawingml/2006/chart">
            <c:chart xmlns:c="http://schemas.openxmlformats.org/drawingml/2006/chart" xmlns:r="http://schemas.openxmlformats.org/officeDocument/2006/relationships" r:id="rId29"/>
          </a:graphicData>
        </a:graphic>
      </p:graphicFrame>
      <p:sp>
        <p:nvSpPr>
          <p:cNvPr id="53" name="Rectangle 52"/>
          <p:cNvSpPr/>
          <p:nvPr>
            <p:custDataLst>
              <p:tags r:id="rId20"/>
            </p:custDataLst>
          </p:nvPr>
        </p:nvSpPr>
        <p:spPr bwMode="gray">
          <a:xfrm>
            <a:off x="7520061" y="2146168"/>
            <a:ext cx="330398" cy="109526"/>
          </a:xfrm>
          <a:prstGeom prst="rect">
            <a:avLst/>
          </a:prstGeom>
          <a:solidFill>
            <a:srgbClr val="FF6600"/>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smtClean="0">
                <a:solidFill>
                  <a:schemeClr val="bg1"/>
                </a:solidFill>
                <a:latin typeface="Arial" panose="020B0604020202020204" pitchFamily="34" charset="0"/>
                <a:ea typeface="+mj-ea"/>
                <a:cs typeface="Arial" panose="020B0604020202020204" pitchFamily="34" charset="0"/>
                <a:sym typeface="+mj-lt"/>
              </a:rPr>
              <a:t>0.24%</a:t>
            </a:r>
            <a:endParaRPr lang="en-GB" sz="1013" dirty="0">
              <a:solidFill>
                <a:schemeClr val="bg1"/>
              </a:solidFill>
              <a:latin typeface="Arial" panose="020B0604020202020204" pitchFamily="34" charset="0"/>
              <a:ea typeface="+mj-ea"/>
              <a:cs typeface="Arial" panose="020B0604020202020204" pitchFamily="34" charset="0"/>
              <a:sym typeface="+mj-lt"/>
            </a:endParaRPr>
          </a:p>
        </p:txBody>
      </p:sp>
      <p:sp>
        <p:nvSpPr>
          <p:cNvPr id="54" name="Rectangle 53"/>
          <p:cNvSpPr/>
          <p:nvPr>
            <p:custDataLst>
              <p:tags r:id="rId21"/>
            </p:custDataLst>
          </p:nvPr>
        </p:nvSpPr>
        <p:spPr bwMode="gray">
          <a:xfrm>
            <a:off x="7494051" y="2490545"/>
            <a:ext cx="330398" cy="137860"/>
          </a:xfrm>
          <a:prstGeom prst="rect">
            <a:avLst/>
          </a:prstGeom>
          <a:solidFill>
            <a:srgbClr val="85CFE9"/>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smtClean="0">
                <a:solidFill>
                  <a:schemeClr val="bg1"/>
                </a:solidFill>
                <a:latin typeface="Arial" panose="020B0604020202020204" pitchFamily="34" charset="0"/>
                <a:ea typeface="+mj-ea"/>
                <a:cs typeface="Arial" panose="020B0604020202020204" pitchFamily="34" charset="0"/>
                <a:sym typeface="+mj-lt"/>
              </a:rPr>
              <a:t>17%</a:t>
            </a:r>
            <a:endParaRPr lang="en-GB" sz="1013" dirty="0">
              <a:solidFill>
                <a:schemeClr val="bg1"/>
              </a:solidFill>
              <a:latin typeface="Arial" panose="020B0604020202020204" pitchFamily="34" charset="0"/>
              <a:ea typeface="+mj-ea"/>
              <a:cs typeface="Arial" panose="020B0604020202020204" pitchFamily="34" charset="0"/>
              <a:sym typeface="+mj-lt"/>
            </a:endParaRPr>
          </a:p>
        </p:txBody>
      </p:sp>
      <p:sp>
        <p:nvSpPr>
          <p:cNvPr id="55" name="Rectangle 54"/>
          <p:cNvSpPr/>
          <p:nvPr>
            <p:custDataLst>
              <p:tags r:id="rId22"/>
            </p:custDataLst>
          </p:nvPr>
        </p:nvSpPr>
        <p:spPr bwMode="gray">
          <a:xfrm>
            <a:off x="7322972" y="1637227"/>
            <a:ext cx="330398" cy="139303"/>
          </a:xfrm>
          <a:prstGeom prst="rect">
            <a:avLst/>
          </a:prstGeom>
          <a:solidFill>
            <a:srgbClr val="193C6C"/>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altLang="en-US" sz="1013" dirty="0" smtClean="0">
                <a:solidFill>
                  <a:schemeClr val="bg1"/>
                </a:solidFill>
                <a:latin typeface="Arial" panose="020B0604020202020204" pitchFamily="34" charset="0"/>
                <a:ea typeface="+mj-ea"/>
                <a:cs typeface="Arial" panose="020B0604020202020204" pitchFamily="34" charset="0"/>
                <a:sym typeface="+mj-lt"/>
              </a:rPr>
              <a:t>2</a:t>
            </a:r>
            <a:r>
              <a:rPr lang="en-GB" altLang="en-US" sz="1013" dirty="0">
                <a:solidFill>
                  <a:schemeClr val="bg1"/>
                </a:solidFill>
                <a:latin typeface="Arial" panose="020B0604020202020204" pitchFamily="34" charset="0"/>
                <a:ea typeface="+mj-ea"/>
                <a:cs typeface="Arial" panose="020B0604020202020204" pitchFamily="34" charset="0"/>
                <a:sym typeface="+mj-lt"/>
              </a:rPr>
              <a:t>6</a:t>
            </a:r>
            <a:r>
              <a:rPr lang="en-GB" altLang="en-US" sz="1013" dirty="0" smtClean="0">
                <a:solidFill>
                  <a:schemeClr val="bg1"/>
                </a:solidFill>
                <a:latin typeface="Arial" panose="020B0604020202020204" pitchFamily="34" charset="0"/>
                <a:ea typeface="+mj-ea"/>
                <a:cs typeface="Arial" panose="020B0604020202020204" pitchFamily="34" charset="0"/>
                <a:sym typeface="+mj-lt"/>
              </a:rPr>
              <a:t>%</a:t>
            </a:r>
            <a:endParaRPr lang="en-GB" sz="1013" dirty="0">
              <a:solidFill>
                <a:schemeClr val="bg1"/>
              </a:solidFill>
              <a:latin typeface="Arial" panose="020B0604020202020204" pitchFamily="34" charset="0"/>
              <a:ea typeface="+mj-ea"/>
              <a:cs typeface="Arial" panose="020B0604020202020204" pitchFamily="34" charset="0"/>
              <a:sym typeface="+mj-lt"/>
            </a:endParaRPr>
          </a:p>
        </p:txBody>
      </p:sp>
      <p:sp>
        <p:nvSpPr>
          <p:cNvPr id="56" name="Rectangle 55"/>
          <p:cNvSpPr/>
          <p:nvPr>
            <p:custDataLst>
              <p:tags r:id="rId23"/>
            </p:custDataLst>
          </p:nvPr>
        </p:nvSpPr>
        <p:spPr bwMode="gray">
          <a:xfrm>
            <a:off x="7161420" y="2420893"/>
            <a:ext cx="330398" cy="139303"/>
          </a:xfrm>
          <a:prstGeom prst="rect">
            <a:avLst/>
          </a:prstGeom>
          <a:solidFill>
            <a:srgbClr val="00568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a:solidFill>
                  <a:schemeClr val="bg1"/>
                </a:solidFill>
                <a:latin typeface="Arial" panose="020B0604020202020204" pitchFamily="34" charset="0"/>
                <a:ea typeface="+mj-ea"/>
                <a:cs typeface="Arial" panose="020B0604020202020204" pitchFamily="34" charset="0"/>
                <a:sym typeface="+mj-lt"/>
              </a:rPr>
              <a:t>4</a:t>
            </a:r>
            <a:r>
              <a:rPr lang="en-GB" sz="1013" dirty="0" smtClean="0">
                <a:solidFill>
                  <a:schemeClr val="bg1"/>
                </a:solidFill>
                <a:latin typeface="Arial" panose="020B0604020202020204" pitchFamily="34" charset="0"/>
                <a:ea typeface="+mj-ea"/>
                <a:cs typeface="Arial" panose="020B0604020202020204" pitchFamily="34" charset="0"/>
                <a:sym typeface="+mj-lt"/>
              </a:rPr>
              <a:t>%</a:t>
            </a:r>
            <a:endParaRPr lang="en-GB" sz="1013" dirty="0">
              <a:solidFill>
                <a:schemeClr val="bg1"/>
              </a:solidFill>
              <a:latin typeface="Arial" panose="020B0604020202020204" pitchFamily="34" charset="0"/>
              <a:ea typeface="+mj-ea"/>
              <a:cs typeface="Arial" panose="020B0604020202020204" pitchFamily="34" charset="0"/>
              <a:sym typeface="+mj-lt"/>
            </a:endParaRPr>
          </a:p>
        </p:txBody>
      </p:sp>
      <p:sp>
        <p:nvSpPr>
          <p:cNvPr id="57" name="Rectangle 56"/>
          <p:cNvSpPr/>
          <p:nvPr>
            <p:custDataLst>
              <p:tags r:id="rId24"/>
            </p:custDataLst>
          </p:nvPr>
        </p:nvSpPr>
        <p:spPr bwMode="gray">
          <a:xfrm>
            <a:off x="7171258" y="2059602"/>
            <a:ext cx="330398" cy="139303"/>
          </a:xfrm>
          <a:prstGeom prst="rect">
            <a:avLst/>
          </a:prstGeom>
          <a:solidFill>
            <a:srgbClr val="A9D18E"/>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a:solidFill>
                  <a:schemeClr val="tx1"/>
                </a:solidFill>
                <a:latin typeface="Arial" panose="020B0604020202020204" pitchFamily="34" charset="0"/>
                <a:ea typeface="+mj-ea"/>
                <a:cs typeface="Arial" panose="020B0604020202020204" pitchFamily="34" charset="0"/>
                <a:sym typeface="+mj-lt"/>
              </a:rPr>
              <a:t>4</a:t>
            </a:r>
            <a:r>
              <a:rPr lang="en-GB" sz="1013" dirty="0" smtClean="0">
                <a:solidFill>
                  <a:schemeClr val="tx1"/>
                </a:solidFill>
                <a:latin typeface="Arial" panose="020B0604020202020204" pitchFamily="34" charset="0"/>
                <a:ea typeface="+mj-ea"/>
                <a:cs typeface="Arial" panose="020B0604020202020204" pitchFamily="34" charset="0"/>
                <a:sym typeface="+mj-lt"/>
              </a:rPr>
              <a:t>%</a:t>
            </a:r>
            <a:endParaRPr lang="en-GB" sz="1013" dirty="0">
              <a:solidFill>
                <a:schemeClr val="tx1"/>
              </a:solidFill>
              <a:latin typeface="Arial" panose="020B0604020202020204" pitchFamily="34" charset="0"/>
              <a:ea typeface="+mj-ea"/>
              <a:cs typeface="Arial" panose="020B0604020202020204" pitchFamily="34" charset="0"/>
              <a:sym typeface="+mj-lt"/>
            </a:endParaRPr>
          </a:p>
        </p:txBody>
      </p:sp>
      <p:sp>
        <p:nvSpPr>
          <p:cNvPr id="58" name="Rectangle 57"/>
          <p:cNvSpPr/>
          <p:nvPr/>
        </p:nvSpPr>
        <p:spPr bwMode="gray">
          <a:xfrm>
            <a:off x="8223822" y="3792688"/>
            <a:ext cx="330398" cy="139303"/>
          </a:xfrm>
          <a:prstGeom prst="rect">
            <a:avLst/>
          </a:prstGeom>
          <a:solidFill>
            <a:srgbClr val="A9D18E"/>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8753" tIns="0" rIns="18753" bIns="0" rtlCol="0" anchor="ctr"/>
          <a:lstStyle/>
          <a:p>
            <a:pPr algn="ctr">
              <a:lnSpc>
                <a:spcPct val="90000"/>
              </a:lnSpc>
              <a:spcBef>
                <a:spcPct val="0"/>
              </a:spcBef>
              <a:spcAft>
                <a:spcPct val="0"/>
              </a:spcAft>
            </a:pPr>
            <a:r>
              <a:rPr lang="en-GB" sz="1013" dirty="0" smtClean="0">
                <a:solidFill>
                  <a:schemeClr val="tx1"/>
                </a:solidFill>
                <a:latin typeface="Arial" panose="020B0604020202020204" pitchFamily="34" charset="0"/>
                <a:ea typeface="+mj-ea"/>
                <a:cs typeface="Arial" panose="020B0604020202020204" pitchFamily="34" charset="0"/>
                <a:sym typeface="+mj-lt"/>
              </a:rPr>
              <a:t>8.2%</a:t>
            </a:r>
            <a:endParaRPr lang="en-GB" sz="1013" dirty="0">
              <a:solidFill>
                <a:schemeClr val="tx1"/>
              </a:solidFill>
              <a:latin typeface="Arial" panose="020B0604020202020204" pitchFamily="34" charset="0"/>
              <a:ea typeface="+mj-ea"/>
              <a:cs typeface="Arial" panose="020B0604020202020204" pitchFamily="34" charset="0"/>
              <a:sym typeface="+mj-lt"/>
            </a:endParaRPr>
          </a:p>
        </p:txBody>
      </p:sp>
      <p:sp>
        <p:nvSpPr>
          <p:cNvPr id="59" name="TextBox 58"/>
          <p:cNvSpPr txBox="1"/>
          <p:nvPr/>
        </p:nvSpPr>
        <p:spPr>
          <a:xfrm>
            <a:off x="6016909" y="1186232"/>
            <a:ext cx="1016625" cy="404085"/>
          </a:xfrm>
          <a:prstGeom prst="rect">
            <a:avLst/>
          </a:prstGeom>
          <a:noFill/>
          <a:ln>
            <a:solidFill>
              <a:schemeClr val="accent1"/>
            </a:solidFill>
            <a:prstDash val="solid"/>
          </a:ln>
        </p:spPr>
        <p:txBody>
          <a:bodyPr wrap="none" rtlCol="0">
            <a:spAutoFit/>
          </a:bodyPr>
          <a:lstStyle/>
          <a:p>
            <a:r>
              <a:rPr lang="en-GB" sz="1013" dirty="0" smtClean="0">
                <a:latin typeface="Arial" panose="020B0604020202020204" pitchFamily="34" charset="0"/>
                <a:cs typeface="Arial" panose="020B0604020202020204" pitchFamily="34" charset="0"/>
              </a:rPr>
              <a:t>SSA </a:t>
            </a:r>
            <a:endParaRPr lang="en-GB" sz="1013" dirty="0">
              <a:latin typeface="Arial" panose="020B0604020202020204" pitchFamily="34" charset="0"/>
              <a:cs typeface="Arial" panose="020B0604020202020204" pitchFamily="34" charset="0"/>
            </a:endParaRPr>
          </a:p>
          <a:p>
            <a:r>
              <a:rPr lang="en-GB" sz="1013" dirty="0">
                <a:latin typeface="Arial" panose="020B0604020202020204" pitchFamily="34" charset="0"/>
                <a:cs typeface="Arial" panose="020B0604020202020204" pitchFamily="34" charset="0"/>
              </a:rPr>
              <a:t>Volumes 2018</a:t>
            </a:r>
          </a:p>
        </p:txBody>
      </p:sp>
      <p:sp>
        <p:nvSpPr>
          <p:cNvPr id="60" name="Rectangle 59"/>
          <p:cNvSpPr/>
          <p:nvPr/>
        </p:nvSpPr>
        <p:spPr>
          <a:xfrm>
            <a:off x="775576" y="253207"/>
            <a:ext cx="8607489" cy="840230"/>
          </a:xfrm>
          <a:prstGeom prst="rect">
            <a:avLst/>
          </a:prstGeom>
        </p:spPr>
        <p:txBody>
          <a:bodyPr wrap="square">
            <a:spAutoFit/>
          </a:bodyPr>
          <a:lstStyle/>
          <a:p>
            <a:pPr defTabSz="685800">
              <a:lnSpc>
                <a:spcPct val="90000"/>
              </a:lnSpc>
              <a:spcBef>
                <a:spcPct val="0"/>
              </a:spcBef>
            </a:pPr>
            <a:r>
              <a:rPr lang="en-GB" b="1" dirty="0" smtClean="0">
                <a:solidFill>
                  <a:srgbClr val="00ACD4"/>
                </a:solidFill>
                <a:latin typeface="Arial" panose="020B0604020202020204" pitchFamily="34" charset="0"/>
                <a:ea typeface="+mj-ea"/>
                <a:cs typeface="Arial" panose="020B0604020202020204" pitchFamily="34" charset="0"/>
              </a:rPr>
              <a:t>The </a:t>
            </a:r>
            <a:r>
              <a:rPr lang="en-GB" b="1" dirty="0">
                <a:solidFill>
                  <a:srgbClr val="00ACD4"/>
                </a:solidFill>
                <a:latin typeface="Arial" panose="020B0604020202020204" pitchFamily="34" charset="0"/>
                <a:ea typeface="+mj-ea"/>
                <a:cs typeface="Arial" panose="020B0604020202020204" pitchFamily="34" charset="0"/>
              </a:rPr>
              <a:t>m</a:t>
            </a:r>
            <a:r>
              <a:rPr lang="en-GB" b="1" dirty="0" smtClean="0">
                <a:solidFill>
                  <a:srgbClr val="00ACD4"/>
                </a:solidFill>
                <a:latin typeface="Arial" panose="020B0604020202020204" pitchFamily="34" charset="0"/>
                <a:ea typeface="+mj-ea"/>
                <a:cs typeface="Arial" panose="020B0604020202020204" pitchFamily="34" charset="0"/>
              </a:rPr>
              <a:t>obile money transaction mix across the region has become more diverse, and</a:t>
            </a:r>
            <a:r>
              <a:rPr lang="en-GB" b="1" dirty="0">
                <a:solidFill>
                  <a:srgbClr val="00ACD4"/>
                </a:solidFill>
                <a:latin typeface="Arial" panose="020B0604020202020204" pitchFamily="34" charset="0"/>
                <a:ea typeface="+mj-ea"/>
                <a:cs typeface="Arial" panose="020B0604020202020204" pitchFamily="34" charset="0"/>
              </a:rPr>
              <a:t> </a:t>
            </a:r>
            <a:r>
              <a:rPr lang="en-GB" b="1" dirty="0" smtClean="0">
                <a:solidFill>
                  <a:srgbClr val="00ACD4"/>
                </a:solidFill>
                <a:latin typeface="Arial" panose="020B0604020202020204" pitchFamily="34" charset="0"/>
                <a:ea typeface="+mj-ea"/>
                <a:cs typeface="Arial" panose="020B0604020202020204" pitchFamily="34" charset="0"/>
              </a:rPr>
              <a:t>ecosystem transactions have quadrupled in value and more than doubled in volume.</a:t>
            </a:r>
            <a:endParaRPr lang="en-GB" b="1" dirty="0">
              <a:solidFill>
                <a:srgbClr val="00ACD4"/>
              </a:solidFill>
              <a:latin typeface="Arial" panose="020B0604020202020204" pitchFamily="34" charset="0"/>
              <a:ea typeface="+mj-ea"/>
              <a:cs typeface="Arial" panose="020B0604020202020204" pitchFamily="34" charset="0"/>
            </a:endParaRPr>
          </a:p>
        </p:txBody>
      </p:sp>
      <p:pic>
        <p:nvPicPr>
          <p:cNvPr id="62" name="Picture 61">
            <a:extLst>
              <a:ext uri="{FF2B5EF4-FFF2-40B4-BE49-F238E27FC236}">
                <a16:creationId xmlns:a16="http://schemas.microsoft.com/office/drawing/2014/main" id="{D1BBFB28-B1AF-C249-BB63-0D06D590D12F}"/>
              </a:ext>
            </a:extLst>
          </p:cNvPr>
          <p:cNvPicPr>
            <a:picLocks noChangeAspect="1"/>
          </p:cNvPicPr>
          <p:nvPr/>
        </p:nvPicPr>
        <p:blipFill>
          <a:blip r:embed="rId30" cstate="hqprint">
            <a:extLst>
              <a:ext uri="{28A0092B-C50C-407E-A947-70E740481C1C}">
                <a14:useLocalDpi xmlns:a14="http://schemas.microsoft.com/office/drawing/2010/main" val="0"/>
              </a:ext>
            </a:extLst>
          </a:blip>
          <a:stretch>
            <a:fillRect/>
          </a:stretch>
        </p:blipFill>
        <p:spPr>
          <a:xfrm>
            <a:off x="247323" y="275686"/>
            <a:ext cx="534416" cy="534416"/>
          </a:xfrm>
          <a:prstGeom prst="rect">
            <a:avLst/>
          </a:prstGeom>
        </p:spPr>
      </p:pic>
    </p:spTree>
    <p:extLst>
      <p:ext uri="{BB962C8B-B14F-4D97-AF65-F5344CB8AC3E}">
        <p14:creationId xmlns:p14="http://schemas.microsoft.com/office/powerpoint/2010/main" val="20183121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25&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4.89280791636797207644E+00&quot;&gt;&lt;m_msothmcolidx val=&quot;0&quot;/&gt;&lt;m_rgb r=&quot;00&quot; g=&quot;AC&quot; b=&quot;D4&quot;/&gt;&lt;m_nBrightness val=&quot;0&quot;/&gt;&lt;/elem&gt;&lt;elem m_fUsage=&quot;1.84029079935833372872E+00&quot;&gt;&lt;m_msothmcolidx val=&quot;0&quot;/&gt;&lt;m_rgb r=&quot;00&quot; g=&quot;56&quot; b=&quot;8F&quot;/&gt;&lt;m_nBrightness val=&quot;0&quot;/&gt;&lt;/elem&gt;&lt;elem m_fUsage=&quot;1.45679603578709482292E+00&quot;&gt;&lt;m_msothmcolidx val=&quot;0&quot;/&gt;&lt;m_rgb r=&quot;BD&quot; g=&quot;9A&quot; b=&quot;0F&quot;/&gt;&lt;m_nBrightness val=&quot;0&quot;/&gt;&lt;/elem&gt;&lt;elem m_fUsage=&quot;1.08002523498194324958E+00&quot;&gt;&lt;m_msothmcolidx val=&quot;0&quot;/&gt;&lt;m_rgb r=&quot;00&quot; g=&quot;A1&quot; b=&quot;82&quot;/&gt;&lt;m_nBrightness val=&quot;0&quot;/&gt;&lt;/elem&gt;&lt;elem m_fUsage=&quot;1.66771816996665767086E-01&quot;&gt;&lt;m_msothmcolidx val=&quot;0&quot;/&gt;&lt;m_rgb r=&quot;16&quot; g=&quot;05&quot; b=&quot;65&quot;/&gt;&lt;m_nBrightness val=&quot;0&quot;/&gt;&lt;/elem&gt;&lt;elem m_fUsage=&quot;1.50094635296999207030E-01&quot;&gt;&lt;m_msothmcolidx val=&quot;0&quot;/&gt;&lt;m_rgb r=&quot;6C&quot; g=&quot;24&quot; b=&quot;A8&quot;/&gt;&lt;m_nBrightness val=&quot;0&quot;/&gt;&lt;/elem&gt;&lt;elem m_fUsage=&quot;1.35085171767299283552E-01&quot;&gt;&lt;m_msothmcolidx val=&quot;0&quot;/&gt;&lt;m_rgb r=&quot;75&quot; g=&quot;57&quot; b=&quot;6F&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7WWJxEpcSBmLP0bEGxzNw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E32fW9JQO2dQMTDNxZvb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c1lHqWnRSKzDkr3d34wM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OFN3P.yQD2tAGGBfhqe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mMjfaYSQPu1lPH1UZ9w0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WgrSfxFnQEGED9GTdaBfI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bucen8ROS_SukCy9k0VqE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Wuo4bzPWTKelTA1hDKyDj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2ThGSFmnTySLcUNNxi_h.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6wRMc0QAQ3u5xlEOqVXyd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l6iOB9zMTOeLfLrOlb8K1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aNGcPyqIQfarGAhTKBfWB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8HjQ3nvUR8aBw1n11XLyD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GdYYt0zQEqOR6z_pAIMi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0rtajnqZTh6CCTrhnCBux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rcl4MKhQNKlHhtEQu5QX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YY3Wy2JRVWk1fJKj2Grc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49L4rDC3TmGvPDV44fcL9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ZxL0jgOMR82Ag_ywdTytM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5kc5ukzMT8OovrTI5f9zm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BFYZwjo8RtOis0FZIgMk9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QP7V0UJ0Sl.Db8OWP_oh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8UnmkXJ_SWejN5yJb8C05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ftqdLYtRA6esu1a44_0f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m4EKTMdiQkuuAsvkdtoEH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S4Cp4YMTtW9eAVYV.zmI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m1uUAkPVSXu6ERQLKwHuO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Drd64IgHTSi9ScIWWwrAm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Qx0rfr0xR9y7p7TiNAiY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VFkJlyw7R6.m0QJvLsIwT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KvdWYPISQrGYaNBEiHOmL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75grFzTCmORZIvpvs0r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8HPDUK4RnCDUrjQ2_mae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TZkjmiZNRXuKbKzcMOnPF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lb4QkuoSmuWSQmTP6L4g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mp8iXXM0TQSPsHaAhBBkm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1tEb_G_.QqWU8GezNaOy5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LZYdTM.pSr.Z2z_JsniEc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YPEUVmzXREG.wdFBbGwG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f951dGqQoe235BoN0HrS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B3i8BNN9ShCnEmiGfH1bu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02Aw2AnVRzCEgqPEDn.qx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oiESHkLTlC06IRlVCrq9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Jb7D_O.VSGq0Cel0StT.8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WsLEZ4mS7ei9kudhlCM4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jve8QaSwOWn1xdnmxtR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dcO.gw8aTiqJiB0W0qGMK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5RpT1gbIRQOcH4LKJBPO7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RFxmue1QNuCMCwk2QCC1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v_9NEV.VRpSfRA6EYzJdu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bBurDmJRS.yNuEqwgYNtQ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WpflEBeZTei6tJL3DtgQC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W.NLXcAZSfibhWXYQGo7c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BJ6J3mGQpa1ZeZxZhNDT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KiTV.boAQoyZOTfNwH.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3ZGEaGrxSjmlJ1liffyJl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6OIVPJX1Q9yHAJAj_T6mC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28aIfR.3RxeshyPEcGHFW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Gc_JtbOwRVKQCWIZnbibu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raOReXBnuwAWvReC1Iuee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uwXS_7_b2JDSFUWwBmpUR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Ws.qLrj71FBBeif5bB0dv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LwDdXSfVb9exUyVvluq8h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1wDQPXWPWCPax47Dfi0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KWSl9_4Bz5UL5JHD6zMzp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UiELb9vRQSCtbf5BBN8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bwGAydC0RziRmrjHQ.Hn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fO_C5ApTNOR6AKupkzuP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g7KZ_JjQqeucjzoEpBDf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fO_C5ApTNOR6AKupkzu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6sX54tZS.WESfOChzQfg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3EuUDlhlQ3KdALleywak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8wk.ldcQbqk3arlCgOHA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1XNLPecKR4CGRihspT.yq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TDlMrx7RLKRa0LJ_06L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_ymrINi9TNW1b74fB87cb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WTKQFOSTZmBPuD8dalea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PCLLpisQpmraAnvlNXyQ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9FFgWNSKCs9_8h0zl60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8yE1XgpSOCWeEd5X.BdW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N4Kd1_LRG.HyA3cVTju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N4WRAzqTLavxx2kL8wut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1sqD23wRdqGkRPjVr_i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SUjsXr2oRlmjAWde6QWFJ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qw7ALmzSPeFY8QLK8am7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Ko0R5LLTRKB.TXnxQg_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QExUx92T2alCokUYHTGE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lV6yRP6Rx2fYv7ihkT9K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Z5MikpjQhej1Y36AyEfz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UuYvt7VnTCKUTH0BSlAJ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J1a9N6EQi.ay3VpY867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w39HfiuS3C3cZICIPrtc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EAY8JTASRCsWkhjd9MsS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V3YdzheRFOsWQa1QGMzW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_wd5HZ55Rc2xsSPD5k0F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n70_n4fSXy1AnmP09V3r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r7IyBPEQhmlqG0YweSR.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VbVCwJVT1i7V8iu6bL0f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R2cS1DUS8OBSbBR9BP1M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fO_C5ApTNOR6AKupkzuP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sOGSLDRXR9ixCilmLTloW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1kypX1rbQAiObsPEykR.I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PvlJerVKS9iSomPvA7l.P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bQ0kgXtSBqHA6hH0dkQ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d.v7CM4TwmUYaGDl3vSC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miTKJWOR0qlYRa31fS_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uYyQYQHR4.bLqyNlRk3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lKa_nnLReafD1JTYy90R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mgSyT3hSvWZcNqDg615E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MYbXFEkRquSZvpqH9Fud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U4rbmaRQSWdFS5Qvgdg6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DTkvz.oRtiLQ8K.pB8S3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j.jiFJEDTBuWO5RuXnqpS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7ZuXBifTRmnejaKFR6n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U15u2UOTwafABgAupOLq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mTnetnxQvqPCSroLdsc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VHSdBfESaOD7xvly53OR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weplqVLTTu7KzqYUiFMK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outC9.YQSaWJctlwQAHm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Q5g5ojaSWqXiJqG0lnF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Ix7aULdQxK5cuziVrmXj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27KnLWtquO4lTdAi.Df3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9PdvVBLqEwpk8vj5nWjk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SafPPOLBRe6fZjX0X2Xz2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3GaPifxnT8u5V5wOLp3wU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RnAmk2FTWWzwS1RUV5Of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AVhDI0EdTDeXewZi7KH94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N4Kd1_LRG.HyA3cVTjuY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L1sqD23wRdqGkRPjVr_i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mqw7ALmzSPeFY8QLK8am7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QExUx92T2alCokUYHTGE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_wd5HZ55Rc2xsSPD5k0Fx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URqr5HcQYSOY5jaCRCxQA"/>
</p:tagLst>
</file>

<file path=ppt/theme/theme1.xml><?xml version="1.0" encoding="utf-8"?>
<a:theme xmlns:a="http://schemas.openxmlformats.org/drawingml/2006/main" name="int colour title">
  <a:themeElements>
    <a:clrScheme name="Custom 53">
      <a:dk1>
        <a:srgbClr val="000000"/>
      </a:dk1>
      <a:lt1>
        <a:srgbClr val="FFFFFF"/>
      </a:lt1>
      <a:dk2>
        <a:srgbClr val="179DA0"/>
      </a:dk2>
      <a:lt2>
        <a:srgbClr val="EEECE1"/>
      </a:lt2>
      <a:accent1>
        <a:srgbClr val="179DA0"/>
      </a:accent1>
      <a:accent2>
        <a:srgbClr val="143C6D"/>
      </a:accent2>
      <a:accent3>
        <a:srgbClr val="666666"/>
      </a:accent3>
      <a:accent4>
        <a:srgbClr val="FF0000"/>
      </a:accent4>
      <a:accent5>
        <a:srgbClr val="666666"/>
      </a:accent5>
      <a:accent6>
        <a:srgbClr val="AAAAAA"/>
      </a:accent6>
      <a:hlink>
        <a:srgbClr val="179DA0"/>
      </a:hlink>
      <a:folHlink>
        <a:srgbClr val="AAAAA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4_navey content">
  <a:themeElements>
    <a:clrScheme name="mwc 18">
      <a:dk1>
        <a:srgbClr val="000000"/>
      </a:dk1>
      <a:lt1>
        <a:srgbClr val="FFFFFF"/>
      </a:lt1>
      <a:dk2>
        <a:srgbClr val="CF007D"/>
      </a:dk2>
      <a:lt2>
        <a:srgbClr val="AAAAAA"/>
      </a:lt2>
      <a:accent1>
        <a:srgbClr val="CF007C"/>
      </a:accent1>
      <a:accent2>
        <a:srgbClr val="090228"/>
      </a:accent2>
      <a:accent3>
        <a:srgbClr val="666666"/>
      </a:accent3>
      <a:accent4>
        <a:srgbClr val="CF007C"/>
      </a:accent4>
      <a:accent5>
        <a:srgbClr val="666666"/>
      </a:accent5>
      <a:accent6>
        <a:srgbClr val="AAAAAA"/>
      </a:accent6>
      <a:hlink>
        <a:srgbClr val="CF007C"/>
      </a:hlink>
      <a:folHlink>
        <a:srgbClr val="AAAAA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5_navey content">
  <a:themeElements>
    <a:clrScheme name="mwc 18">
      <a:dk1>
        <a:srgbClr val="000000"/>
      </a:dk1>
      <a:lt1>
        <a:srgbClr val="FFFFFF"/>
      </a:lt1>
      <a:dk2>
        <a:srgbClr val="CF007D"/>
      </a:dk2>
      <a:lt2>
        <a:srgbClr val="AAAAAA"/>
      </a:lt2>
      <a:accent1>
        <a:srgbClr val="CF007C"/>
      </a:accent1>
      <a:accent2>
        <a:srgbClr val="090228"/>
      </a:accent2>
      <a:accent3>
        <a:srgbClr val="666666"/>
      </a:accent3>
      <a:accent4>
        <a:srgbClr val="CF007C"/>
      </a:accent4>
      <a:accent5>
        <a:srgbClr val="666666"/>
      </a:accent5>
      <a:accent6>
        <a:srgbClr val="AAAAAA"/>
      </a:accent6>
      <a:hlink>
        <a:srgbClr val="CF007C"/>
      </a:hlink>
      <a:folHlink>
        <a:srgbClr val="AAAAA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6_navey content">
  <a:themeElements>
    <a:clrScheme name="mwc 18">
      <a:dk1>
        <a:srgbClr val="000000"/>
      </a:dk1>
      <a:lt1>
        <a:srgbClr val="FFFFFF"/>
      </a:lt1>
      <a:dk2>
        <a:srgbClr val="CF007D"/>
      </a:dk2>
      <a:lt2>
        <a:srgbClr val="AAAAAA"/>
      </a:lt2>
      <a:accent1>
        <a:srgbClr val="CF007C"/>
      </a:accent1>
      <a:accent2>
        <a:srgbClr val="090228"/>
      </a:accent2>
      <a:accent3>
        <a:srgbClr val="666666"/>
      </a:accent3>
      <a:accent4>
        <a:srgbClr val="CF007C"/>
      </a:accent4>
      <a:accent5>
        <a:srgbClr val="666666"/>
      </a:accent5>
      <a:accent6>
        <a:srgbClr val="AAAAAA"/>
      </a:accent6>
      <a:hlink>
        <a:srgbClr val="CF007C"/>
      </a:hlink>
      <a:folHlink>
        <a:srgbClr val="AAAAA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7_navey content">
  <a:themeElements>
    <a:clrScheme name="mwc 18">
      <a:dk1>
        <a:srgbClr val="000000"/>
      </a:dk1>
      <a:lt1>
        <a:srgbClr val="FFFFFF"/>
      </a:lt1>
      <a:dk2>
        <a:srgbClr val="CF007D"/>
      </a:dk2>
      <a:lt2>
        <a:srgbClr val="AAAAAA"/>
      </a:lt2>
      <a:accent1>
        <a:srgbClr val="CF007C"/>
      </a:accent1>
      <a:accent2>
        <a:srgbClr val="090228"/>
      </a:accent2>
      <a:accent3>
        <a:srgbClr val="666666"/>
      </a:accent3>
      <a:accent4>
        <a:srgbClr val="CF007C"/>
      </a:accent4>
      <a:accent5>
        <a:srgbClr val="666666"/>
      </a:accent5>
      <a:accent6>
        <a:srgbClr val="AAAAAA"/>
      </a:accent6>
      <a:hlink>
        <a:srgbClr val="CF007C"/>
      </a:hlink>
      <a:folHlink>
        <a:srgbClr val="AAAAA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8_navey content">
  <a:themeElements>
    <a:clrScheme name="mwc 18">
      <a:dk1>
        <a:srgbClr val="000000"/>
      </a:dk1>
      <a:lt1>
        <a:srgbClr val="FFFFFF"/>
      </a:lt1>
      <a:dk2>
        <a:srgbClr val="CF007D"/>
      </a:dk2>
      <a:lt2>
        <a:srgbClr val="AAAAAA"/>
      </a:lt2>
      <a:accent1>
        <a:srgbClr val="CF007C"/>
      </a:accent1>
      <a:accent2>
        <a:srgbClr val="090228"/>
      </a:accent2>
      <a:accent3>
        <a:srgbClr val="666666"/>
      </a:accent3>
      <a:accent4>
        <a:srgbClr val="CF007C"/>
      </a:accent4>
      <a:accent5>
        <a:srgbClr val="666666"/>
      </a:accent5>
      <a:accent6>
        <a:srgbClr val="AAAAAA"/>
      </a:accent6>
      <a:hlink>
        <a:srgbClr val="CF007C"/>
      </a:hlink>
      <a:folHlink>
        <a:srgbClr val="AAAAA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9_navey content">
  <a:themeElements>
    <a:clrScheme name="mwc 18">
      <a:dk1>
        <a:srgbClr val="000000"/>
      </a:dk1>
      <a:lt1>
        <a:srgbClr val="FFFFFF"/>
      </a:lt1>
      <a:dk2>
        <a:srgbClr val="CF007D"/>
      </a:dk2>
      <a:lt2>
        <a:srgbClr val="AAAAAA"/>
      </a:lt2>
      <a:accent1>
        <a:srgbClr val="CF007C"/>
      </a:accent1>
      <a:accent2>
        <a:srgbClr val="090228"/>
      </a:accent2>
      <a:accent3>
        <a:srgbClr val="666666"/>
      </a:accent3>
      <a:accent4>
        <a:srgbClr val="CF007C"/>
      </a:accent4>
      <a:accent5>
        <a:srgbClr val="666666"/>
      </a:accent5>
      <a:accent6>
        <a:srgbClr val="AAAAAA"/>
      </a:accent6>
      <a:hlink>
        <a:srgbClr val="CF007C"/>
      </a:hlink>
      <a:folHlink>
        <a:srgbClr val="AAAAA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assive title">
  <a:themeElements>
    <a:clrScheme name="Custom 21">
      <a:dk1>
        <a:srgbClr val="000000"/>
      </a:dk1>
      <a:lt1>
        <a:srgbClr val="FFFFFF"/>
      </a:lt1>
      <a:dk2>
        <a:srgbClr val="FF6600"/>
      </a:dk2>
      <a:lt2>
        <a:srgbClr val="AAAAAA"/>
      </a:lt2>
      <a:accent1>
        <a:srgbClr val="FF6600"/>
      </a:accent1>
      <a:accent2>
        <a:srgbClr val="7F3300"/>
      </a:accent2>
      <a:accent3>
        <a:srgbClr val="95226C"/>
      </a:accent3>
      <a:accent4>
        <a:srgbClr val="FF0000"/>
      </a:accent4>
      <a:accent5>
        <a:srgbClr val="666666"/>
      </a:accent5>
      <a:accent6>
        <a:srgbClr val="AAAAAA"/>
      </a:accent6>
      <a:hlink>
        <a:srgbClr val="FF6600"/>
      </a:hlink>
      <a:folHlink>
        <a:srgbClr val="AAAAAA"/>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navey content">
  <a:themeElements>
    <a:clrScheme name="mwc 18">
      <a:dk1>
        <a:srgbClr val="000000"/>
      </a:dk1>
      <a:lt1>
        <a:srgbClr val="FFFFFF"/>
      </a:lt1>
      <a:dk2>
        <a:srgbClr val="CF007D"/>
      </a:dk2>
      <a:lt2>
        <a:srgbClr val="AAAAAA"/>
      </a:lt2>
      <a:accent1>
        <a:srgbClr val="CF007C"/>
      </a:accent1>
      <a:accent2>
        <a:srgbClr val="090228"/>
      </a:accent2>
      <a:accent3>
        <a:srgbClr val="666666"/>
      </a:accent3>
      <a:accent4>
        <a:srgbClr val="CF007C"/>
      </a:accent4>
      <a:accent5>
        <a:srgbClr val="666666"/>
      </a:accent5>
      <a:accent6>
        <a:srgbClr val="AAAAAA"/>
      </a:accent6>
      <a:hlink>
        <a:srgbClr val="CF007C"/>
      </a:hlink>
      <a:folHlink>
        <a:srgbClr val="AAAAA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navey content">
  <a:themeElements>
    <a:clrScheme name="mwc 18">
      <a:dk1>
        <a:srgbClr val="000000"/>
      </a:dk1>
      <a:lt1>
        <a:srgbClr val="FFFFFF"/>
      </a:lt1>
      <a:dk2>
        <a:srgbClr val="CF007D"/>
      </a:dk2>
      <a:lt2>
        <a:srgbClr val="AAAAAA"/>
      </a:lt2>
      <a:accent1>
        <a:srgbClr val="CF007C"/>
      </a:accent1>
      <a:accent2>
        <a:srgbClr val="090228"/>
      </a:accent2>
      <a:accent3>
        <a:srgbClr val="666666"/>
      </a:accent3>
      <a:accent4>
        <a:srgbClr val="CF007C"/>
      </a:accent4>
      <a:accent5>
        <a:srgbClr val="666666"/>
      </a:accent5>
      <a:accent6>
        <a:srgbClr val="AAAAAA"/>
      </a:accent6>
      <a:hlink>
        <a:srgbClr val="CF007C"/>
      </a:hlink>
      <a:folHlink>
        <a:srgbClr val="AAAAA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GSMA">
  <a:themeElements>
    <a:clrScheme name="GSMA Colours">
      <a:dk1>
        <a:srgbClr val="5C5C5C"/>
      </a:dk1>
      <a:lt1>
        <a:srgbClr val="FFFFFF"/>
      </a:lt1>
      <a:dk2>
        <a:srgbClr val="262626"/>
      </a:dk2>
      <a:lt2>
        <a:srgbClr val="FFFFFF"/>
      </a:lt2>
      <a:accent1>
        <a:srgbClr val="FF0000"/>
      </a:accent1>
      <a:accent2>
        <a:srgbClr val="000000"/>
      </a:accent2>
      <a:accent3>
        <a:srgbClr val="94C0BE"/>
      </a:accent3>
      <a:accent4>
        <a:srgbClr val="878787"/>
      </a:accent4>
      <a:accent5>
        <a:srgbClr val="FF0000"/>
      </a:accent5>
      <a:accent6>
        <a:srgbClr val="000000"/>
      </a:accent6>
      <a:hlink>
        <a:srgbClr val="94C0BE"/>
      </a:hlink>
      <a:folHlink>
        <a:srgbClr val="87878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285750" indent="-285750">
          <a:buFont typeface="Wingdings" panose="05000000000000000000" pitchFamily="2" charset="2"/>
          <a:buChar char="§"/>
          <a:defRPr dirty="0"/>
        </a:defPPr>
      </a:lstStyle>
    </a:txDef>
  </a:objectDefaults>
  <a:extraClrSchemeLst/>
</a:theme>
</file>

<file path=ppt/theme/theme6.xml><?xml version="1.0" encoding="utf-8"?>
<a:theme xmlns:a="http://schemas.openxmlformats.org/drawingml/2006/main" name="1_GSMA">
  <a:themeElements>
    <a:clrScheme name="GSMA Colours">
      <a:dk1>
        <a:srgbClr val="5C5C5C"/>
      </a:dk1>
      <a:lt1>
        <a:srgbClr val="FFFFFF"/>
      </a:lt1>
      <a:dk2>
        <a:srgbClr val="262626"/>
      </a:dk2>
      <a:lt2>
        <a:srgbClr val="FFFFFF"/>
      </a:lt2>
      <a:accent1>
        <a:srgbClr val="FF0000"/>
      </a:accent1>
      <a:accent2>
        <a:srgbClr val="000000"/>
      </a:accent2>
      <a:accent3>
        <a:srgbClr val="94C0BE"/>
      </a:accent3>
      <a:accent4>
        <a:srgbClr val="878787"/>
      </a:accent4>
      <a:accent5>
        <a:srgbClr val="FF0000"/>
      </a:accent5>
      <a:accent6>
        <a:srgbClr val="000000"/>
      </a:accent6>
      <a:hlink>
        <a:srgbClr val="94C0BE"/>
      </a:hlink>
      <a:folHlink>
        <a:srgbClr val="87878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navey content">
  <a:themeElements>
    <a:clrScheme name="mwc 18">
      <a:dk1>
        <a:srgbClr val="000000"/>
      </a:dk1>
      <a:lt1>
        <a:srgbClr val="FFFFFF"/>
      </a:lt1>
      <a:dk2>
        <a:srgbClr val="CF007D"/>
      </a:dk2>
      <a:lt2>
        <a:srgbClr val="AAAAAA"/>
      </a:lt2>
      <a:accent1>
        <a:srgbClr val="CF007C"/>
      </a:accent1>
      <a:accent2>
        <a:srgbClr val="090228"/>
      </a:accent2>
      <a:accent3>
        <a:srgbClr val="666666"/>
      </a:accent3>
      <a:accent4>
        <a:srgbClr val="CF007C"/>
      </a:accent4>
      <a:accent5>
        <a:srgbClr val="666666"/>
      </a:accent5>
      <a:accent6>
        <a:srgbClr val="AAAAAA"/>
      </a:accent6>
      <a:hlink>
        <a:srgbClr val="CF007C"/>
      </a:hlink>
      <a:folHlink>
        <a:srgbClr val="AAAAA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GSMA">
  <a:themeElements>
    <a:clrScheme name="GSMA Colours">
      <a:dk1>
        <a:srgbClr val="5C5C5C"/>
      </a:dk1>
      <a:lt1>
        <a:srgbClr val="FFFFFF"/>
      </a:lt1>
      <a:dk2>
        <a:srgbClr val="262626"/>
      </a:dk2>
      <a:lt2>
        <a:srgbClr val="FFFFFF"/>
      </a:lt2>
      <a:accent1>
        <a:srgbClr val="FF0000"/>
      </a:accent1>
      <a:accent2>
        <a:srgbClr val="000000"/>
      </a:accent2>
      <a:accent3>
        <a:srgbClr val="94C0BE"/>
      </a:accent3>
      <a:accent4>
        <a:srgbClr val="878787"/>
      </a:accent4>
      <a:accent5>
        <a:srgbClr val="FF0000"/>
      </a:accent5>
      <a:accent6>
        <a:srgbClr val="000000"/>
      </a:accent6>
      <a:hlink>
        <a:srgbClr val="94C0BE"/>
      </a:hlink>
      <a:folHlink>
        <a:srgbClr val="87878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GSMA MM SLIDE MASTER">
  <a:themeElements>
    <a:clrScheme name="GSMA Colours">
      <a:dk1>
        <a:srgbClr val="5C5C5C"/>
      </a:dk1>
      <a:lt1>
        <a:srgbClr val="FFFFFF"/>
      </a:lt1>
      <a:dk2>
        <a:srgbClr val="262626"/>
      </a:dk2>
      <a:lt2>
        <a:srgbClr val="FFFFFF"/>
      </a:lt2>
      <a:accent1>
        <a:srgbClr val="FF0000"/>
      </a:accent1>
      <a:accent2>
        <a:srgbClr val="000000"/>
      </a:accent2>
      <a:accent3>
        <a:srgbClr val="94C0BE"/>
      </a:accent3>
      <a:accent4>
        <a:srgbClr val="878787"/>
      </a:accent4>
      <a:accent5>
        <a:srgbClr val="FF0000"/>
      </a:accent5>
      <a:accent6>
        <a:srgbClr val="000000"/>
      </a:accent6>
      <a:hlink>
        <a:srgbClr val="94C0BE"/>
      </a:hlink>
      <a:folHlink>
        <a:srgbClr val="87878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fault Theme</Template>
  <TotalTime>10031</TotalTime>
  <Words>785</Words>
  <Application>Microsoft Office PowerPoint</Application>
  <PresentationFormat>On-screen Show (16:9)</PresentationFormat>
  <Paragraphs>183</Paragraphs>
  <Slides>16</Slides>
  <Notes>3</Notes>
  <HiddenSlides>0</HiddenSlides>
  <MMClips>0</MMClips>
  <ScaleCrop>false</ScaleCrop>
  <HeadingPairs>
    <vt:vector size="8" baseType="variant">
      <vt:variant>
        <vt:lpstr>Fonts Used</vt:lpstr>
      </vt:variant>
      <vt:variant>
        <vt:i4>8</vt:i4>
      </vt:variant>
      <vt:variant>
        <vt:lpstr>Theme</vt:lpstr>
      </vt:variant>
      <vt:variant>
        <vt:i4>17</vt:i4>
      </vt:variant>
      <vt:variant>
        <vt:lpstr>Embedded OLE Servers</vt:lpstr>
      </vt:variant>
      <vt:variant>
        <vt:i4>2</vt:i4>
      </vt:variant>
      <vt:variant>
        <vt:lpstr>Slide Titles</vt:lpstr>
      </vt:variant>
      <vt:variant>
        <vt:i4>16</vt:i4>
      </vt:variant>
    </vt:vector>
  </HeadingPairs>
  <TitlesOfParts>
    <vt:vector size="43" baseType="lpstr">
      <vt:lpstr>Arial</vt:lpstr>
      <vt:lpstr>Calibri</vt:lpstr>
      <vt:lpstr>Calibri Light</vt:lpstr>
      <vt:lpstr>Futura LT Book</vt:lpstr>
      <vt:lpstr>Gill Sans</vt:lpstr>
      <vt:lpstr>Sketch Rockwell</vt:lpstr>
      <vt:lpstr>Times New Roman</vt:lpstr>
      <vt:lpstr>Wingdings</vt:lpstr>
      <vt:lpstr>int colour title</vt:lpstr>
      <vt:lpstr>passive title</vt:lpstr>
      <vt:lpstr>1_navey content</vt:lpstr>
      <vt:lpstr>2_navey content</vt:lpstr>
      <vt:lpstr>2_GSMA</vt:lpstr>
      <vt:lpstr>1_GSMA</vt:lpstr>
      <vt:lpstr>3_navey content</vt:lpstr>
      <vt:lpstr>3_GSMA</vt:lpstr>
      <vt:lpstr>GSMA MM SLIDE MASTER</vt:lpstr>
      <vt:lpstr>4_navey content</vt:lpstr>
      <vt:lpstr>5_navey content</vt:lpstr>
      <vt:lpstr>6_navey content</vt:lpstr>
      <vt:lpstr>Office Theme</vt:lpstr>
      <vt:lpstr>Custom Design</vt:lpstr>
      <vt:lpstr>7_navey content</vt:lpstr>
      <vt:lpstr>8_navey content</vt:lpstr>
      <vt:lpstr>9_navey content</vt:lpstr>
      <vt:lpstr>think-cell Slide</vt:lpstr>
      <vt:lpstr>Chart</vt:lpstr>
      <vt:lpstr>PowerPoint Presentation</vt:lpstr>
      <vt:lpstr>PowerPoint Presentation</vt:lpstr>
      <vt:lpstr>PowerPoint Presentation</vt:lpstr>
      <vt:lpstr>Host to almost half of all mobile money registered accounts globally,  Sub-Saharan Africa remains the epicentre of mobile money.  </vt:lpstr>
      <vt:lpstr>The number of registered customer accounts in Sub-Saharan Africa has reached 396 million, with activity rates of 37% as of December 2018.</vt:lpstr>
      <vt:lpstr>Sub-Saharan Africa is driving around two thirds of total global mobile money transactions, with values exceeding $25bn in December 2018.</vt:lpstr>
      <vt:lpstr>Since 2010, customer distribution across the region has become more diverse, with sub-regions such as Western and Middle Africa growing their market shares.</vt:lpstr>
      <vt:lpstr>PowerPoint Presentation</vt:lpstr>
      <vt:lpstr>PowerPoint Presentation</vt:lpstr>
      <vt:lpstr>PowerPoint Presentation</vt:lpstr>
      <vt:lpstr>2018 saw advancements in investments, strategic partnerships, regional interoperability and regulation across the Sub-Saharan African region.</vt:lpstr>
      <vt:lpstr>Looking ahead, we see three key areas of future growth in mobile money across  Sub-Saharan Africa:</vt:lpstr>
      <vt:lpstr>Africa’s mobile money sleeping giants: Egypt, Ethiopia and Nigeria, have the potential to unlock over 110m accounts in the next five years. </vt:lpstr>
      <vt:lpstr>Sectors on the cusp of transformation: MSME and e-commerce</vt:lpstr>
      <vt:lpstr>Growth in smartphone adoption unlocks access to a broader customer base and allow providers to offer an enhanced user experience and a wider range of products and service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mes Mentz</dc:creator>
  <cp:lastModifiedBy>Tapiwa Jakachira</cp:lastModifiedBy>
  <cp:revision>507</cp:revision>
  <dcterms:created xsi:type="dcterms:W3CDTF">2018-08-21T08:34:49Z</dcterms:created>
  <dcterms:modified xsi:type="dcterms:W3CDTF">2019-08-07T15:30:18Z</dcterms:modified>
</cp:coreProperties>
</file>